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4" r:id="rId5"/>
    <p:sldMasterId id="2147483684" r:id="rId6"/>
    <p:sldMasterId id="2147483705" r:id="rId7"/>
    <p:sldMasterId id="2147483720" r:id="rId8"/>
  </p:sldMasterIdLst>
  <p:notesMasterIdLst>
    <p:notesMasterId r:id="rId28"/>
  </p:notesMasterIdLst>
  <p:sldIdLst>
    <p:sldId id="2141411348" r:id="rId9"/>
    <p:sldId id="361" r:id="rId10"/>
    <p:sldId id="411" r:id="rId11"/>
    <p:sldId id="389" r:id="rId12"/>
    <p:sldId id="2141411115" r:id="rId13"/>
    <p:sldId id="2141411113" r:id="rId14"/>
    <p:sldId id="2141411114" r:id="rId15"/>
    <p:sldId id="2141411117" r:id="rId16"/>
    <p:sldId id="2145707727" r:id="rId17"/>
    <p:sldId id="2147470368" r:id="rId18"/>
    <p:sldId id="400" r:id="rId19"/>
    <p:sldId id="391" r:id="rId20"/>
    <p:sldId id="394" r:id="rId21"/>
    <p:sldId id="398" r:id="rId22"/>
    <p:sldId id="831" r:id="rId23"/>
    <p:sldId id="406" r:id="rId24"/>
    <p:sldId id="2147470369" r:id="rId25"/>
    <p:sldId id="2147470370" r:id="rId26"/>
    <p:sldId id="408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 Fahrmann" initials="JF" lastIdx="3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9B03"/>
    <a:srgbClr val="1F497D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FA78F93-A5FE-4ABD-86F6-0B36CF45C086}" v="82" dt="2022-10-06T10:33:47.33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94712" autoAdjust="0"/>
  </p:normalViewPr>
  <p:slideViewPr>
    <p:cSldViewPr snapToGrid="0">
      <p:cViewPr varScale="1">
        <p:scale>
          <a:sx n="108" d="100"/>
          <a:sy n="108" d="100"/>
        </p:scale>
        <p:origin x="72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974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presProps" Target="presProps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ENBAUER, Oliver Christiaan G." userId="4c289209-1e0e-4d0e-993e-338608564a4e" providerId="ADAL" clId="{7FA78F93-A5FE-4ABD-86F6-0B36CF45C086}"/>
    <pc:docChg chg="custSel addSld delSld modSld">
      <pc:chgData name="ROSENBAUER, Oliver Christiaan G." userId="4c289209-1e0e-4d0e-993e-338608564a4e" providerId="ADAL" clId="{7FA78F93-A5FE-4ABD-86F6-0B36CF45C086}" dt="2022-10-06T10:39:05.356" v="1042" actId="1038"/>
      <pc:docMkLst>
        <pc:docMk/>
      </pc:docMkLst>
      <pc:sldChg chg="modSp mod modNotes">
        <pc:chgData name="ROSENBAUER, Oliver Christiaan G." userId="4c289209-1e0e-4d0e-993e-338608564a4e" providerId="ADAL" clId="{7FA78F93-A5FE-4ABD-86F6-0B36CF45C086}" dt="2022-10-06T10:33:47.339" v="982" actId="478"/>
        <pc:sldMkLst>
          <pc:docMk/>
          <pc:sldMk cId="0" sldId="361"/>
        </pc:sldMkLst>
        <pc:spChg chg="mod">
          <ac:chgData name="ROSENBAUER, Oliver Christiaan G." userId="4c289209-1e0e-4d0e-993e-338608564a4e" providerId="ADAL" clId="{7FA78F93-A5FE-4ABD-86F6-0B36CF45C086}" dt="2022-10-06T10:26:27.686" v="17" actId="20577"/>
          <ac:spMkLst>
            <pc:docMk/>
            <pc:sldMk cId="0" sldId="361"/>
            <ac:spMk id="4102" creationId="{80A1BCA7-9DCD-486E-B9DC-13B217587981}"/>
          </ac:spMkLst>
        </pc:spChg>
        <pc:spChg chg="mod">
          <ac:chgData name="ROSENBAUER, Oliver Christiaan G." userId="4c289209-1e0e-4d0e-993e-338608564a4e" providerId="ADAL" clId="{7FA78F93-A5FE-4ABD-86F6-0B36CF45C086}" dt="2022-10-06T10:26:44.884" v="68" actId="20577"/>
          <ac:spMkLst>
            <pc:docMk/>
            <pc:sldMk cId="0" sldId="361"/>
            <ac:spMk id="4103" creationId="{B2B453C0-447F-4391-9769-B9E739906677}"/>
          </ac:spMkLst>
        </pc:spChg>
        <pc:spChg chg="mod">
          <ac:chgData name="ROSENBAUER, Oliver Christiaan G." userId="4c289209-1e0e-4d0e-993e-338608564a4e" providerId="ADAL" clId="{7FA78F93-A5FE-4ABD-86F6-0B36CF45C086}" dt="2022-10-06T10:26:36.897" v="47" actId="20577"/>
          <ac:spMkLst>
            <pc:docMk/>
            <pc:sldMk cId="0" sldId="361"/>
            <ac:spMk id="4104" creationId="{716052D5-4F7F-4A1E-A084-9122E1C6C37A}"/>
          </ac:spMkLst>
        </pc:spChg>
      </pc:sldChg>
      <pc:sldChg chg="del">
        <pc:chgData name="ROSENBAUER, Oliver Christiaan G." userId="4c289209-1e0e-4d0e-993e-338608564a4e" providerId="ADAL" clId="{7FA78F93-A5FE-4ABD-86F6-0B36CF45C086}" dt="2022-10-06T10:31:46.484" v="781" actId="47"/>
        <pc:sldMkLst>
          <pc:docMk/>
          <pc:sldMk cId="423473407" sldId="375"/>
        </pc:sldMkLst>
      </pc:sldChg>
      <pc:sldChg chg="modSp mod modNotes">
        <pc:chgData name="ROSENBAUER, Oliver Christiaan G." userId="4c289209-1e0e-4d0e-993e-338608564a4e" providerId="ADAL" clId="{7FA78F93-A5FE-4ABD-86F6-0B36CF45C086}" dt="2022-10-06T10:33:35.740" v="979" actId="478"/>
        <pc:sldMkLst>
          <pc:docMk/>
          <pc:sldMk cId="0" sldId="389"/>
        </pc:sldMkLst>
        <pc:spChg chg="mod">
          <ac:chgData name="ROSENBAUER, Oliver Christiaan G." userId="4c289209-1e0e-4d0e-993e-338608564a4e" providerId="ADAL" clId="{7FA78F93-A5FE-4ABD-86F6-0B36CF45C086}" dt="2022-10-06T10:27:17.551" v="159" actId="20577"/>
          <ac:spMkLst>
            <pc:docMk/>
            <pc:sldMk cId="0" sldId="389"/>
            <ac:spMk id="7171" creationId="{E2BD9441-727C-47D2-869B-C95D5A4EF8EC}"/>
          </ac:spMkLst>
        </pc:spChg>
      </pc:sldChg>
      <pc:sldChg chg="modSp mod modNotes">
        <pc:chgData name="ROSENBAUER, Oliver Christiaan G." userId="4c289209-1e0e-4d0e-993e-338608564a4e" providerId="ADAL" clId="{7FA78F93-A5FE-4ABD-86F6-0B36CF45C086}" dt="2022-10-06T10:33:16.680" v="976" actId="478"/>
        <pc:sldMkLst>
          <pc:docMk/>
          <pc:sldMk cId="0" sldId="391"/>
        </pc:sldMkLst>
        <pc:spChg chg="mod">
          <ac:chgData name="ROSENBAUER, Oliver Christiaan G." userId="4c289209-1e0e-4d0e-993e-338608564a4e" providerId="ADAL" clId="{7FA78F93-A5FE-4ABD-86F6-0B36CF45C086}" dt="2022-10-06T10:29:55.231" v="488" actId="1037"/>
          <ac:spMkLst>
            <pc:docMk/>
            <pc:sldMk cId="0" sldId="391"/>
            <ac:spMk id="17410" creationId="{EC262BC0-C7F5-4971-A23A-65F758A97DA3}"/>
          </ac:spMkLst>
        </pc:spChg>
        <pc:spChg chg="mod">
          <ac:chgData name="ROSENBAUER, Oliver Christiaan G." userId="4c289209-1e0e-4d0e-993e-338608564a4e" providerId="ADAL" clId="{7FA78F93-A5FE-4ABD-86F6-0B36CF45C086}" dt="2022-10-06T10:30:43.608" v="692" actId="6549"/>
          <ac:spMkLst>
            <pc:docMk/>
            <pc:sldMk cId="0" sldId="391"/>
            <ac:spMk id="17411" creationId="{2E90FDBC-2EAC-4E4F-A8AB-9CD41279B951}"/>
          </ac:spMkLst>
        </pc:spChg>
      </pc:sldChg>
      <pc:sldChg chg="del">
        <pc:chgData name="ROSENBAUER, Oliver Christiaan G." userId="4c289209-1e0e-4d0e-993e-338608564a4e" providerId="ADAL" clId="{7FA78F93-A5FE-4ABD-86F6-0B36CF45C086}" dt="2022-10-06T10:30:50.846" v="693" actId="47"/>
        <pc:sldMkLst>
          <pc:docMk/>
          <pc:sldMk cId="0" sldId="392"/>
        </pc:sldMkLst>
      </pc:sldChg>
      <pc:sldChg chg="delSp modSp mod modNotes">
        <pc:chgData name="ROSENBAUER, Oliver Christiaan G." userId="4c289209-1e0e-4d0e-993e-338608564a4e" providerId="ADAL" clId="{7FA78F93-A5FE-4ABD-86F6-0B36CF45C086}" dt="2022-10-06T10:33:11.838" v="975" actId="478"/>
        <pc:sldMkLst>
          <pc:docMk/>
          <pc:sldMk cId="0" sldId="394"/>
        </pc:sldMkLst>
        <pc:spChg chg="del">
          <ac:chgData name="ROSENBAUER, Oliver Christiaan G." userId="4c289209-1e0e-4d0e-993e-338608564a4e" providerId="ADAL" clId="{7FA78F93-A5FE-4ABD-86F6-0B36CF45C086}" dt="2022-10-06T10:31:06.878" v="719" actId="478"/>
          <ac:spMkLst>
            <pc:docMk/>
            <pc:sldMk cId="0" sldId="394"/>
            <ac:spMk id="19460" creationId="{C20BEA90-B9F2-4C04-8E6E-645658A17A23}"/>
          </ac:spMkLst>
        </pc:spChg>
        <pc:spChg chg="mod">
          <ac:chgData name="ROSENBAUER, Oliver Christiaan G." userId="4c289209-1e0e-4d0e-993e-338608564a4e" providerId="ADAL" clId="{7FA78F93-A5FE-4ABD-86F6-0B36CF45C086}" dt="2022-10-06T10:31:02.426" v="718" actId="20577"/>
          <ac:spMkLst>
            <pc:docMk/>
            <pc:sldMk cId="0" sldId="394"/>
            <ac:spMk id="19463" creationId="{E0D4EB87-6A47-44F4-983E-91E57B7B25E9}"/>
          </ac:spMkLst>
        </pc:spChg>
      </pc:sldChg>
      <pc:sldChg chg="del">
        <pc:chgData name="ROSENBAUER, Oliver Christiaan G." userId="4c289209-1e0e-4d0e-993e-338608564a4e" providerId="ADAL" clId="{7FA78F93-A5FE-4ABD-86F6-0B36CF45C086}" dt="2022-10-06T10:31:15.920" v="720" actId="47"/>
        <pc:sldMkLst>
          <pc:docMk/>
          <pc:sldMk cId="0" sldId="396"/>
        </pc:sldMkLst>
      </pc:sldChg>
      <pc:sldChg chg="modSp mod modNotes">
        <pc:chgData name="ROSENBAUER, Oliver Christiaan G." userId="4c289209-1e0e-4d0e-993e-338608564a4e" providerId="ADAL" clId="{7FA78F93-A5FE-4ABD-86F6-0B36CF45C086}" dt="2022-10-06T10:33:07.595" v="974" actId="478"/>
        <pc:sldMkLst>
          <pc:docMk/>
          <pc:sldMk cId="0" sldId="398"/>
        </pc:sldMkLst>
        <pc:spChg chg="mod">
          <ac:chgData name="ROSENBAUER, Oliver Christiaan G." userId="4c289209-1e0e-4d0e-993e-338608564a4e" providerId="ADAL" clId="{7FA78F93-A5FE-4ABD-86F6-0B36CF45C086}" dt="2022-10-06T10:31:43.726" v="780" actId="20577"/>
          <ac:spMkLst>
            <pc:docMk/>
            <pc:sldMk cId="0" sldId="398"/>
            <ac:spMk id="21506" creationId="{F4B797DC-4028-478D-ACEB-54A8DF6CF98C}"/>
          </ac:spMkLst>
        </pc:spChg>
        <pc:spChg chg="mod">
          <ac:chgData name="ROSENBAUER, Oliver Christiaan G." userId="4c289209-1e0e-4d0e-993e-338608564a4e" providerId="ADAL" clId="{7FA78F93-A5FE-4ABD-86F6-0B36CF45C086}" dt="2022-10-06T10:31:22.901" v="734" actId="20577"/>
          <ac:spMkLst>
            <pc:docMk/>
            <pc:sldMk cId="0" sldId="398"/>
            <ac:spMk id="21508" creationId="{7F32C5F0-A65C-49E4-9FA4-DF6B7CC88164}"/>
          </ac:spMkLst>
        </pc:spChg>
      </pc:sldChg>
      <pc:sldChg chg="modSp mod modNotes">
        <pc:chgData name="ROSENBAUER, Oliver Christiaan G." userId="4c289209-1e0e-4d0e-993e-338608564a4e" providerId="ADAL" clId="{7FA78F93-A5FE-4ABD-86F6-0B36CF45C086}" dt="2022-10-06T10:33:21.038" v="977" actId="478"/>
        <pc:sldMkLst>
          <pc:docMk/>
          <pc:sldMk cId="0" sldId="400"/>
        </pc:sldMkLst>
        <pc:spChg chg="mod">
          <ac:chgData name="ROSENBAUER, Oliver Christiaan G." userId="4c289209-1e0e-4d0e-993e-338608564a4e" providerId="ADAL" clId="{7FA78F93-A5FE-4ABD-86F6-0B36CF45C086}" dt="2022-10-06T10:29:22.860" v="379" actId="20577"/>
          <ac:spMkLst>
            <pc:docMk/>
            <pc:sldMk cId="0" sldId="400"/>
            <ac:spMk id="16388" creationId="{82613F8C-F0F7-4E6D-AE54-0D523B6CBEE5}"/>
          </ac:spMkLst>
        </pc:spChg>
      </pc:sldChg>
      <pc:sldChg chg="modSp mod modNotes">
        <pc:chgData name="ROSENBAUER, Oliver Christiaan G." userId="4c289209-1e0e-4d0e-993e-338608564a4e" providerId="ADAL" clId="{7FA78F93-A5FE-4ABD-86F6-0B36CF45C086}" dt="2022-10-06T10:33:00.774" v="973" actId="478"/>
        <pc:sldMkLst>
          <pc:docMk/>
          <pc:sldMk cId="0" sldId="406"/>
        </pc:sldMkLst>
        <pc:spChg chg="mod">
          <ac:chgData name="ROSENBAUER, Oliver Christiaan G." userId="4c289209-1e0e-4d0e-993e-338608564a4e" providerId="ADAL" clId="{7FA78F93-A5FE-4ABD-86F6-0B36CF45C086}" dt="2022-10-06T10:32:37.500" v="971" actId="20577"/>
          <ac:spMkLst>
            <pc:docMk/>
            <pc:sldMk cId="0" sldId="406"/>
            <ac:spMk id="25605" creationId="{23229CB8-67CE-45AE-A13E-0BD1AEEB402F}"/>
          </ac:spMkLst>
        </pc:spChg>
      </pc:sldChg>
      <pc:sldChg chg="modNotes">
        <pc:chgData name="ROSENBAUER, Oliver Christiaan G." userId="4c289209-1e0e-4d0e-993e-338608564a4e" providerId="ADAL" clId="{7FA78F93-A5FE-4ABD-86F6-0B36CF45C086}" dt="2022-10-06T10:32:54.080" v="972" actId="478"/>
        <pc:sldMkLst>
          <pc:docMk/>
          <pc:sldMk cId="0" sldId="408"/>
        </pc:sldMkLst>
      </pc:sldChg>
      <pc:sldChg chg="del">
        <pc:chgData name="ROSENBAUER, Oliver Christiaan G." userId="4c289209-1e0e-4d0e-993e-338608564a4e" providerId="ADAL" clId="{7FA78F93-A5FE-4ABD-86F6-0B36CF45C086}" dt="2022-10-06T10:26:47.979" v="69" actId="47"/>
        <pc:sldMkLst>
          <pc:docMk/>
          <pc:sldMk cId="0" sldId="410"/>
        </pc:sldMkLst>
      </pc:sldChg>
      <pc:sldChg chg="modSp mod modNotes">
        <pc:chgData name="ROSENBAUER, Oliver Christiaan G." userId="4c289209-1e0e-4d0e-993e-338608564a4e" providerId="ADAL" clId="{7FA78F93-A5FE-4ABD-86F6-0B36CF45C086}" dt="2022-10-06T10:33:39.900" v="980" actId="478"/>
        <pc:sldMkLst>
          <pc:docMk/>
          <pc:sldMk cId="0" sldId="411"/>
        </pc:sldMkLst>
        <pc:spChg chg="mod">
          <ac:chgData name="ROSENBAUER, Oliver Christiaan G." userId="4c289209-1e0e-4d0e-993e-338608564a4e" providerId="ADAL" clId="{7FA78F93-A5FE-4ABD-86F6-0B36CF45C086}" dt="2022-10-06T10:27:08.345" v="140" actId="20577"/>
          <ac:spMkLst>
            <pc:docMk/>
            <pc:sldMk cId="0" sldId="411"/>
            <ac:spMk id="6146" creationId="{0EBB65A2-DE06-4E2A-903B-8051C76C931F}"/>
          </ac:spMkLst>
        </pc:spChg>
      </pc:sldChg>
      <pc:sldChg chg="modSp mod">
        <pc:chgData name="ROSENBAUER, Oliver Christiaan G." userId="4c289209-1e0e-4d0e-993e-338608564a4e" providerId="ADAL" clId="{7FA78F93-A5FE-4ABD-86F6-0B36CF45C086}" dt="2022-10-06T10:32:21.552" v="906" actId="20577"/>
        <pc:sldMkLst>
          <pc:docMk/>
          <pc:sldMk cId="0" sldId="831"/>
        </pc:sldMkLst>
        <pc:spChg chg="mod">
          <ac:chgData name="ROSENBAUER, Oliver Christiaan G." userId="4c289209-1e0e-4d0e-993e-338608564a4e" providerId="ADAL" clId="{7FA78F93-A5FE-4ABD-86F6-0B36CF45C086}" dt="2022-10-06T10:31:52.664" v="791" actId="20577"/>
          <ac:spMkLst>
            <pc:docMk/>
            <pc:sldMk cId="0" sldId="831"/>
            <ac:spMk id="12" creationId="{685AA249-8626-487A-A594-6D2C2147FB4E}"/>
          </ac:spMkLst>
        </pc:spChg>
        <pc:spChg chg="mod">
          <ac:chgData name="ROSENBAUER, Oliver Christiaan G." userId="4c289209-1e0e-4d0e-993e-338608564a4e" providerId="ADAL" clId="{7FA78F93-A5FE-4ABD-86F6-0B36CF45C086}" dt="2022-10-06T10:32:21.552" v="906" actId="20577"/>
          <ac:spMkLst>
            <pc:docMk/>
            <pc:sldMk cId="0" sldId="831"/>
            <ac:spMk id="15" creationId="{2B33ADF1-94C9-4C68-8406-FDC82636E0CB}"/>
          </ac:spMkLst>
        </pc:spChg>
      </pc:sldChg>
      <pc:sldChg chg="modSp mod">
        <pc:chgData name="ROSENBAUER, Oliver Christiaan G." userId="4c289209-1e0e-4d0e-993e-338608564a4e" providerId="ADAL" clId="{7FA78F93-A5FE-4ABD-86F6-0B36CF45C086}" dt="2022-10-06T10:27:52.509" v="260" actId="14100"/>
        <pc:sldMkLst>
          <pc:docMk/>
          <pc:sldMk cId="1936369057" sldId="2141411113"/>
        </pc:sldMkLst>
        <pc:spChg chg="mod">
          <ac:chgData name="ROSENBAUER, Oliver Christiaan G." userId="4c289209-1e0e-4d0e-993e-338608564a4e" providerId="ADAL" clId="{7FA78F93-A5FE-4ABD-86F6-0B36CF45C086}" dt="2022-10-06T10:27:52.509" v="260" actId="14100"/>
          <ac:spMkLst>
            <pc:docMk/>
            <pc:sldMk cId="1936369057" sldId="2141411113"/>
            <ac:spMk id="7" creationId="{5525A180-2C1F-BA46-AABE-948D28894A39}"/>
          </ac:spMkLst>
        </pc:spChg>
      </pc:sldChg>
      <pc:sldChg chg="modSp mod">
        <pc:chgData name="ROSENBAUER, Oliver Christiaan G." userId="4c289209-1e0e-4d0e-993e-338608564a4e" providerId="ADAL" clId="{7FA78F93-A5FE-4ABD-86F6-0B36CF45C086}" dt="2022-10-06T10:28:09.146" v="277" actId="20577"/>
        <pc:sldMkLst>
          <pc:docMk/>
          <pc:sldMk cId="1861955107" sldId="2141411114"/>
        </pc:sldMkLst>
        <pc:spChg chg="mod">
          <ac:chgData name="ROSENBAUER, Oliver Christiaan G." userId="4c289209-1e0e-4d0e-993e-338608564a4e" providerId="ADAL" clId="{7FA78F93-A5FE-4ABD-86F6-0B36CF45C086}" dt="2022-10-06T10:28:09.146" v="277" actId="20577"/>
          <ac:spMkLst>
            <pc:docMk/>
            <pc:sldMk cId="1861955107" sldId="2141411114"/>
            <ac:spMk id="15" creationId="{15D4BA48-E083-744A-AF05-A59443522C28}"/>
          </ac:spMkLst>
        </pc:spChg>
      </pc:sldChg>
      <pc:sldChg chg="modSp mod">
        <pc:chgData name="ROSENBAUER, Oliver Christiaan G." userId="4c289209-1e0e-4d0e-993e-338608564a4e" providerId="ADAL" clId="{7FA78F93-A5FE-4ABD-86F6-0B36CF45C086}" dt="2022-10-06T10:27:35.410" v="221" actId="20577"/>
        <pc:sldMkLst>
          <pc:docMk/>
          <pc:sldMk cId="942576392" sldId="2141411115"/>
        </pc:sldMkLst>
        <pc:spChg chg="mod">
          <ac:chgData name="ROSENBAUER, Oliver Christiaan G." userId="4c289209-1e0e-4d0e-993e-338608564a4e" providerId="ADAL" clId="{7FA78F93-A5FE-4ABD-86F6-0B36CF45C086}" dt="2022-10-06T10:27:35.410" v="221" actId="20577"/>
          <ac:spMkLst>
            <pc:docMk/>
            <pc:sldMk cId="942576392" sldId="2141411115"/>
            <ac:spMk id="18" creationId="{1061FC8C-1EF8-A641-9936-4EAEF7C5716D}"/>
          </ac:spMkLst>
        </pc:spChg>
      </pc:sldChg>
      <pc:sldChg chg="modSp mod">
        <pc:chgData name="ROSENBAUER, Oliver Christiaan G." userId="4c289209-1e0e-4d0e-993e-338608564a4e" providerId="ADAL" clId="{7FA78F93-A5FE-4ABD-86F6-0B36CF45C086}" dt="2022-10-06T10:28:30.511" v="317" actId="20577"/>
        <pc:sldMkLst>
          <pc:docMk/>
          <pc:sldMk cId="4046865710" sldId="2141411117"/>
        </pc:sldMkLst>
        <pc:spChg chg="mod">
          <ac:chgData name="ROSENBAUER, Oliver Christiaan G." userId="4c289209-1e0e-4d0e-993e-338608564a4e" providerId="ADAL" clId="{7FA78F93-A5FE-4ABD-86F6-0B36CF45C086}" dt="2022-10-06T10:28:30.511" v="317" actId="20577"/>
          <ac:spMkLst>
            <pc:docMk/>
            <pc:sldMk cId="4046865710" sldId="2141411117"/>
            <ac:spMk id="11" creationId="{3239BAFD-C130-445C-925F-95BDBB365CA3}"/>
          </ac:spMkLst>
        </pc:spChg>
      </pc:sldChg>
      <pc:sldChg chg="del">
        <pc:chgData name="ROSENBAUER, Oliver Christiaan G." userId="4c289209-1e0e-4d0e-993e-338608564a4e" providerId="ADAL" clId="{7FA78F93-A5FE-4ABD-86F6-0B36CF45C086}" dt="2022-10-06T10:31:48.213" v="782" actId="47"/>
        <pc:sldMkLst>
          <pc:docMk/>
          <pc:sldMk cId="2884857379" sldId="2141411901"/>
        </pc:sldMkLst>
      </pc:sldChg>
      <pc:sldChg chg="modSp mod">
        <pc:chgData name="ROSENBAUER, Oliver Christiaan G." userId="4c289209-1e0e-4d0e-993e-338608564a4e" providerId="ADAL" clId="{7FA78F93-A5FE-4ABD-86F6-0B36CF45C086}" dt="2022-10-06T10:28:40.294" v="318" actId="6549"/>
        <pc:sldMkLst>
          <pc:docMk/>
          <pc:sldMk cId="3680983024" sldId="2145707727"/>
        </pc:sldMkLst>
        <pc:spChg chg="mod">
          <ac:chgData name="ROSENBAUER, Oliver Christiaan G." userId="4c289209-1e0e-4d0e-993e-338608564a4e" providerId="ADAL" clId="{7FA78F93-A5FE-4ABD-86F6-0B36CF45C086}" dt="2022-10-06T10:28:40.294" v="318" actId="6549"/>
          <ac:spMkLst>
            <pc:docMk/>
            <pc:sldMk cId="3680983024" sldId="2145707727"/>
            <ac:spMk id="2" creationId="{F1813429-F0A7-44B5-8731-06B94110F065}"/>
          </ac:spMkLst>
        </pc:spChg>
      </pc:sldChg>
      <pc:sldChg chg="modSp mod modNotes">
        <pc:chgData name="ROSENBAUER, Oliver Christiaan G." userId="4c289209-1e0e-4d0e-993e-338608564a4e" providerId="ADAL" clId="{7FA78F93-A5FE-4ABD-86F6-0B36CF45C086}" dt="2022-10-06T10:33:25.724" v="978" actId="478"/>
        <pc:sldMkLst>
          <pc:docMk/>
          <pc:sldMk cId="405829378" sldId="2147470368"/>
        </pc:sldMkLst>
        <pc:spChg chg="mod">
          <ac:chgData name="ROSENBAUER, Oliver Christiaan G." userId="4c289209-1e0e-4d0e-993e-338608564a4e" providerId="ADAL" clId="{7FA78F93-A5FE-4ABD-86F6-0B36CF45C086}" dt="2022-10-06T10:28:48.812" v="335" actId="20577"/>
          <ac:spMkLst>
            <pc:docMk/>
            <pc:sldMk cId="405829378" sldId="2147470368"/>
            <ac:spMk id="6" creationId="{DCBA8826-1F47-403B-BBA8-A51DC5986A72}"/>
          </ac:spMkLst>
        </pc:spChg>
      </pc:sldChg>
      <pc:sldChg chg="addSp delSp new mod">
        <pc:chgData name="ROSENBAUER, Oliver Christiaan G." userId="4c289209-1e0e-4d0e-993e-338608564a4e" providerId="ADAL" clId="{7FA78F93-A5FE-4ABD-86F6-0B36CF45C086}" dt="2022-10-06T10:36:49.806" v="986" actId="22"/>
        <pc:sldMkLst>
          <pc:docMk/>
          <pc:sldMk cId="4142819423" sldId="2147470369"/>
        </pc:sldMkLst>
        <pc:spChg chg="del">
          <ac:chgData name="ROSENBAUER, Oliver Christiaan G." userId="4c289209-1e0e-4d0e-993e-338608564a4e" providerId="ADAL" clId="{7FA78F93-A5FE-4ABD-86F6-0B36CF45C086}" dt="2022-10-06T10:34:17.357" v="985" actId="478"/>
          <ac:spMkLst>
            <pc:docMk/>
            <pc:sldMk cId="4142819423" sldId="2147470369"/>
            <ac:spMk id="3" creationId="{64E88B4E-3AA8-4C02-A3ED-A96CBCD0660A}"/>
          </ac:spMkLst>
        </pc:spChg>
        <pc:spChg chg="del">
          <ac:chgData name="ROSENBAUER, Oliver Christiaan G." userId="4c289209-1e0e-4d0e-993e-338608564a4e" providerId="ADAL" clId="{7FA78F93-A5FE-4ABD-86F6-0B36CF45C086}" dt="2022-10-06T10:34:15.285" v="984" actId="478"/>
          <ac:spMkLst>
            <pc:docMk/>
            <pc:sldMk cId="4142819423" sldId="2147470369"/>
            <ac:spMk id="4" creationId="{0B5B48EC-070C-4D0A-B228-F7CAF1843FCB}"/>
          </ac:spMkLst>
        </pc:spChg>
        <pc:picChg chg="add">
          <ac:chgData name="ROSENBAUER, Oliver Christiaan G." userId="4c289209-1e0e-4d0e-993e-338608564a4e" providerId="ADAL" clId="{7FA78F93-A5FE-4ABD-86F6-0B36CF45C086}" dt="2022-10-06T10:36:49.806" v="986" actId="22"/>
          <ac:picMkLst>
            <pc:docMk/>
            <pc:sldMk cId="4142819423" sldId="2147470369"/>
            <ac:picMk id="6" creationId="{3AE59FCF-3226-4E1C-9C8B-05955409F234}"/>
          </ac:picMkLst>
        </pc:picChg>
      </pc:sldChg>
      <pc:sldChg chg="addSp delSp modSp new mod">
        <pc:chgData name="ROSENBAUER, Oliver Christiaan G." userId="4c289209-1e0e-4d0e-993e-338608564a4e" providerId="ADAL" clId="{7FA78F93-A5FE-4ABD-86F6-0B36CF45C086}" dt="2022-10-06T10:39:05.356" v="1042" actId="1038"/>
        <pc:sldMkLst>
          <pc:docMk/>
          <pc:sldMk cId="1762168262" sldId="2147470370"/>
        </pc:sldMkLst>
        <pc:spChg chg="del">
          <ac:chgData name="ROSENBAUER, Oliver Christiaan G." userId="4c289209-1e0e-4d0e-993e-338608564a4e" providerId="ADAL" clId="{7FA78F93-A5FE-4ABD-86F6-0B36CF45C086}" dt="2022-10-06T10:37:08.275" v="988" actId="478"/>
          <ac:spMkLst>
            <pc:docMk/>
            <pc:sldMk cId="1762168262" sldId="2147470370"/>
            <ac:spMk id="3" creationId="{6AB130E2-4602-4137-B248-F25A23376B7D}"/>
          </ac:spMkLst>
        </pc:spChg>
        <pc:spChg chg="del">
          <ac:chgData name="ROSENBAUER, Oliver Christiaan G." userId="4c289209-1e0e-4d0e-993e-338608564a4e" providerId="ADAL" clId="{7FA78F93-A5FE-4ABD-86F6-0B36CF45C086}" dt="2022-10-06T10:37:10.415" v="989" actId="478"/>
          <ac:spMkLst>
            <pc:docMk/>
            <pc:sldMk cId="1762168262" sldId="2147470370"/>
            <ac:spMk id="4" creationId="{421BD35C-6C32-445C-B4BD-0F04C5DACDAB}"/>
          </ac:spMkLst>
        </pc:spChg>
        <pc:picChg chg="add mod">
          <ac:chgData name="ROSENBAUER, Oliver Christiaan G." userId="4c289209-1e0e-4d0e-993e-338608564a4e" providerId="ADAL" clId="{7FA78F93-A5FE-4ABD-86F6-0B36CF45C086}" dt="2022-10-06T10:39:05.356" v="1042" actId="1038"/>
          <ac:picMkLst>
            <pc:docMk/>
            <pc:sldMk cId="1762168262" sldId="2147470370"/>
            <ac:picMk id="6" creationId="{85F12EB1-2A2B-4DAA-8F28-4394B19A7518}"/>
          </ac:picMkLst>
        </pc:picChg>
      </pc:sldChg>
      <pc:sldChg chg="delSp del mod">
        <pc:chgData name="ROSENBAUER, Oliver Christiaan G." userId="4c289209-1e0e-4d0e-993e-338608564a4e" providerId="ADAL" clId="{7FA78F93-A5FE-4ABD-86F6-0B36CF45C086}" dt="2022-10-06T10:29:14.403" v="337" actId="47"/>
        <pc:sldMkLst>
          <pc:docMk/>
          <pc:sldMk cId="4031162887" sldId="2147470370"/>
        </pc:sldMkLst>
        <pc:spChg chg="del">
          <ac:chgData name="ROSENBAUER, Oliver Christiaan G." userId="4c289209-1e0e-4d0e-993e-338608564a4e" providerId="ADAL" clId="{7FA78F93-A5FE-4ABD-86F6-0B36CF45C086}" dt="2022-10-06T10:28:56.990" v="336" actId="478"/>
          <ac:spMkLst>
            <pc:docMk/>
            <pc:sldMk cId="4031162887" sldId="2147470370"/>
            <ac:spMk id="21" creationId="{B5290D72-E121-4862-BCCC-E41B30FE4E32}"/>
          </ac:spMkLst>
        </pc:spChg>
      </pc:sldChg>
      <pc:sldMasterChg chg="delSldLayout">
        <pc:chgData name="ROSENBAUER, Oliver Christiaan G." userId="4c289209-1e0e-4d0e-993e-338608564a4e" providerId="ADAL" clId="{7FA78F93-A5FE-4ABD-86F6-0B36CF45C086}" dt="2022-10-06T10:31:48.213" v="782" actId="47"/>
        <pc:sldMasterMkLst>
          <pc:docMk/>
          <pc:sldMasterMk cId="557493368" sldId="2147483661"/>
        </pc:sldMasterMkLst>
        <pc:sldLayoutChg chg="del">
          <pc:chgData name="ROSENBAUER, Oliver Christiaan G." userId="4c289209-1e0e-4d0e-993e-338608564a4e" providerId="ADAL" clId="{7FA78F93-A5FE-4ABD-86F6-0B36CF45C086}" dt="2022-10-06T10:31:48.213" v="782" actId="47"/>
          <pc:sldLayoutMkLst>
            <pc:docMk/>
            <pc:sldMasterMk cId="557493368" sldId="2147483661"/>
            <pc:sldLayoutMk cId="1737741822" sldId="214748374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991D8F-D1D4-4467-A410-31FA3B25AF2F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BF36D1-16C6-4C8B-8FE2-B9D2D16EAB8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304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2558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665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C05ED0-F448-4226-8439-9C30F121FEE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665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4DDA03AF-4513-4B60-8470-4A181FB57C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655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>
            <a:extLst>
              <a:ext uri="{FF2B5EF4-FFF2-40B4-BE49-F238E27FC236}">
                <a16:creationId xmlns:a16="http://schemas.microsoft.com/office/drawing/2014/main" id="{70337EEA-DE0C-4B90-A71B-BFC3F74C7C6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15FAA389-5474-4271-804E-E40A7C9166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>
            <a:extLst>
              <a:ext uri="{FF2B5EF4-FFF2-40B4-BE49-F238E27FC236}">
                <a16:creationId xmlns:a16="http://schemas.microsoft.com/office/drawing/2014/main" id="{AAA6348D-A405-472C-81EF-9B5423CA4A5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564312" cy="3692525"/>
          </a:xfrm>
          <a:ln/>
        </p:spPr>
      </p:sp>
      <p:sp>
        <p:nvSpPr>
          <p:cNvPr id="44035" name="Notes Placeholder 1">
            <a:extLst>
              <a:ext uri="{FF2B5EF4-FFF2-40B4-BE49-F238E27FC236}">
                <a16:creationId xmlns:a16="http://schemas.microsoft.com/office/drawing/2014/main" id="{ECAC168A-1DA9-47BE-94B9-9030E35148F3}"/>
              </a:ext>
            </a:extLst>
          </p:cNvPr>
          <p:cNvSpPr>
            <a:spLocks noGrp="1"/>
          </p:cNvSpPr>
          <p:nvPr/>
        </p:nvSpPr>
        <p:spPr bwMode="auto">
          <a:xfrm>
            <a:off x="679450" y="4716463"/>
            <a:ext cx="5438775" cy="446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15" tIns="45357" rIns="90715" bIns="45357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9F1E6C0D-CA3A-4974-85D1-F604668AD5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2">
            <a:extLst>
              <a:ext uri="{FF2B5EF4-FFF2-40B4-BE49-F238E27FC236}">
                <a16:creationId xmlns:a16="http://schemas.microsoft.com/office/drawing/2014/main" id="{1ACF08C3-8DE2-4424-9226-4D50A5A0F84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564312" cy="3692525"/>
          </a:xfrm>
          <a:ln/>
        </p:spPr>
      </p:sp>
      <p:sp>
        <p:nvSpPr>
          <p:cNvPr id="46083" name="Notes Placeholder 1">
            <a:extLst>
              <a:ext uri="{FF2B5EF4-FFF2-40B4-BE49-F238E27FC236}">
                <a16:creationId xmlns:a16="http://schemas.microsoft.com/office/drawing/2014/main" id="{60A9649F-E79B-4F23-9C61-728F5C95F6E2}"/>
              </a:ext>
            </a:extLst>
          </p:cNvPr>
          <p:cNvSpPr>
            <a:spLocks noGrp="1"/>
          </p:cNvSpPr>
          <p:nvPr/>
        </p:nvSpPr>
        <p:spPr bwMode="auto">
          <a:xfrm>
            <a:off x="679450" y="4716463"/>
            <a:ext cx="5438775" cy="4465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15" tIns="45357" rIns="90715" bIns="45357"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US" altLang="en-US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BA2E7973-B351-460D-9445-568690B68F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>
            <a:extLst>
              <a:ext uri="{FF2B5EF4-FFF2-40B4-BE49-F238E27FC236}">
                <a16:creationId xmlns:a16="http://schemas.microsoft.com/office/drawing/2014/main" id="{4CCC5193-C29B-4612-ABE1-B27144AF97F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FB8D8A89-360E-4DCF-93EC-02D06908E6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>
            <a:extLst>
              <a:ext uri="{FF2B5EF4-FFF2-40B4-BE49-F238E27FC236}">
                <a16:creationId xmlns:a16="http://schemas.microsoft.com/office/drawing/2014/main" id="{55E9D924-074B-438E-96CD-7CE8FA9D2F3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5539" name="Slide Number Placeholder 3">
            <a:extLst>
              <a:ext uri="{FF2B5EF4-FFF2-40B4-BE49-F238E27FC236}">
                <a16:creationId xmlns:a16="http://schemas.microsoft.com/office/drawing/2014/main" id="{E4E6240F-1293-4AA0-A689-7B5E27F5286E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xfrm>
            <a:off x="3773488" y="9283700"/>
            <a:ext cx="2889250" cy="488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160" tIns="45080" rIns="90160" bIns="45080"/>
          <a:lstStyle>
            <a:lvl1pPr defTabSz="8937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1838" indent="-280988" defTabSz="8937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25538" indent="-223838" defTabSz="8937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76388" indent="-223838" defTabSz="8937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27238" indent="-223838" defTabSz="8937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84438" indent="-223838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41638" indent="-223838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398838" indent="-223838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56038" indent="-223838" defTabSz="8937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DA5D0B7-4102-44C0-960D-13FB10DA6A70}" type="slidenum">
              <a:rPr lang="en-GB" altLang="en-US"/>
              <a:pPr>
                <a:spcBef>
                  <a:spcPct val="0"/>
                </a:spcBef>
              </a:pPr>
              <a:t>15</a:t>
            </a:fld>
            <a:endParaRPr lang="en-GB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2">
            <a:extLst>
              <a:ext uri="{FF2B5EF4-FFF2-40B4-BE49-F238E27FC236}">
                <a16:creationId xmlns:a16="http://schemas.microsoft.com/office/drawing/2014/main" id="{02FE72F1-1F6D-4D0B-AE05-EF426D50705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564312" cy="3692525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59017393-E93C-4F02-A3E6-72C2382A52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2">
            <a:extLst>
              <a:ext uri="{FF2B5EF4-FFF2-40B4-BE49-F238E27FC236}">
                <a16:creationId xmlns:a16="http://schemas.microsoft.com/office/drawing/2014/main" id="{F77DB55B-8D19-424A-AD35-2FFCD1D2D4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8113" y="768350"/>
            <a:ext cx="6564312" cy="3692525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DA1901A-27AC-47E7-B29E-164C07D2B01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>
            <a:extLst>
              <a:ext uri="{FF2B5EF4-FFF2-40B4-BE49-F238E27FC236}">
                <a16:creationId xmlns:a16="http://schemas.microsoft.com/office/drawing/2014/main" id="{22EA6BF2-F832-43E7-8C2A-E07A54C5E66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81E704C-6CCE-4EFB-AE1B-49FB874ADCDC}" type="slidenum">
              <a:rPr lang="en-GB" altLang="en-US"/>
              <a:pPr eaLnBrk="1" hangingPunct="1">
                <a:spcBef>
                  <a:spcPct val="0"/>
                </a:spcBef>
              </a:pPr>
              <a:t>2</a:t>
            </a:fld>
            <a:endParaRPr lang="en-GB" altLang="en-US"/>
          </a:p>
        </p:txBody>
      </p:sp>
      <p:sp>
        <p:nvSpPr>
          <p:cNvPr id="30723" name="Rectangle 2">
            <a:extLst>
              <a:ext uri="{FF2B5EF4-FFF2-40B4-BE49-F238E27FC236}">
                <a16:creationId xmlns:a16="http://schemas.microsoft.com/office/drawing/2014/main" id="{B4657009-7425-4E25-AE68-2E4BFB61B30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893193F-2198-4226-8885-121DF5898B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>
            <a:extLst>
              <a:ext uri="{FF2B5EF4-FFF2-40B4-BE49-F238E27FC236}">
                <a16:creationId xmlns:a16="http://schemas.microsoft.com/office/drawing/2014/main" id="{F52AA674-59E9-4C8A-B24B-FC4FB7ACC5F4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6700" cy="3722687"/>
          </a:xfrm>
          <a:ln/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64BE3160-A6A7-4399-90D6-A7A6DC49D8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>
            <a:extLst>
              <a:ext uri="{FF2B5EF4-FFF2-40B4-BE49-F238E27FC236}">
                <a16:creationId xmlns:a16="http://schemas.microsoft.com/office/drawing/2014/main" id="{A2C072F8-E84D-4913-BCAA-18934D1FEE9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3796" name="Slide Number Placeholder 3">
            <a:extLst>
              <a:ext uri="{FF2B5EF4-FFF2-40B4-BE49-F238E27FC236}">
                <a16:creationId xmlns:a16="http://schemas.microsoft.com/office/drawing/2014/main" id="{2C8CBB71-2A62-484C-A87A-B8D2EBDC25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080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080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D59C369-337A-42D6-BE79-8DE09F678715}" type="slidenum">
              <a:rPr lang="en-GB" altLang="en-US"/>
              <a:pPr eaLnBrk="1" hangingPunct="1">
                <a:spcBef>
                  <a:spcPct val="0"/>
                </a:spcBef>
              </a:pPr>
              <a:t>4</a:t>
            </a:fld>
            <a:endParaRPr lang="en-GB" altLang="en-US"/>
          </a:p>
        </p:txBody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315BEA8B-4BC5-421B-B306-190823E6D16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8665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2972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9760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9988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5BF36D1-16C6-4C8B-8FE2-B9D2D16EAB8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02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1.jpeg"/><Relationship Id="rId4" Type="http://schemas.openxmlformats.org/officeDocument/2006/relationships/image" Target="../media/image2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1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8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 descr="GPEI inside pages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 b="1"/>
            </a:lvl1pPr>
          </a:lstStyle>
          <a:p>
            <a:fld id="{8A5DEE5B-CA4F-486D-A403-B2C7C42F572B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38207" y="365135"/>
            <a:ext cx="10515600" cy="6156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838207" y="1341438"/>
            <a:ext cx="10515600" cy="5040312"/>
          </a:xfrm>
          <a:prstGeom prst="rect">
            <a:avLst/>
          </a:prstGeo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7888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598" y="89503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8" y="1534795"/>
            <a:ext cx="5386917" cy="442817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89503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1534795"/>
            <a:ext cx="5389033" cy="4428172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C00DE5-D6C4-4453-9FB6-84EB61F43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2"/>
            <a:ext cx="10972800" cy="6958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697051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80A85F-EE2E-4277-B276-33FB34979C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4514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61498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63" y="160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3" y="1603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6" descr="GPEI inside pages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474797">
              <a:defRPr b="1"/>
            </a:lvl1pPr>
          </a:lstStyle>
          <a:p>
            <a:fld id="{8A5DEE5B-CA4F-486D-A403-B2C7C42F572B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838207" y="365140"/>
            <a:ext cx="10515600" cy="6156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en-US" sz="1350" b="1" kern="120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838207" y="1341438"/>
            <a:ext cx="10515600" cy="5040312"/>
          </a:xfrm>
          <a:prstGeom prst="rect">
            <a:avLst/>
          </a:prstGeom>
        </p:spPr>
        <p:txBody>
          <a:bodyPr/>
          <a:lstStyle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58483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4576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768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80A85F-EE2E-4277-B276-33FB34979C6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7255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367" y="364800"/>
            <a:ext cx="11226800" cy="517064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ext slide – 1 column, 28 pts</a:t>
            </a:r>
            <a:endParaRPr lang="en-US" dirty="0"/>
          </a:p>
        </p:txBody>
      </p:sp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80E94A8-0648-D043-B8F7-3AFA110B04BE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78367" y="950401"/>
            <a:ext cx="11226801" cy="465508"/>
          </a:xfrm>
        </p:spPr>
        <p:txBody>
          <a:bodyPr/>
          <a:lstStyle>
            <a:lvl1pPr marL="0" indent="0">
              <a:buNone/>
              <a:defRPr sz="2475" b="0" baseline="0">
                <a:solidFill>
                  <a:schemeClr val="tx1"/>
                </a:solidFill>
              </a:defRPr>
            </a:lvl1pPr>
            <a:lvl2pPr marL="300083" indent="0">
              <a:buNone/>
              <a:defRPr/>
            </a:lvl2pPr>
            <a:lvl3pPr marL="771643" indent="0">
              <a:buNone/>
              <a:defRPr/>
            </a:lvl3pPr>
            <a:lvl4pPr marL="1157465" indent="0">
              <a:buNone/>
              <a:defRPr/>
            </a:lvl4pPr>
            <a:lvl5pPr marL="1543286" indent="0">
              <a:buNone/>
              <a:defRPr/>
            </a:lvl5pPr>
          </a:lstStyle>
          <a:p>
            <a:pPr lvl="0"/>
            <a:r>
              <a:rPr lang="en-US" noProof="0" dirty="0"/>
              <a:t>Subtitle, 22 pt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78367" y="1777409"/>
            <a:ext cx="11226801" cy="4483693"/>
          </a:xfrm>
        </p:spPr>
        <p:txBody>
          <a:bodyPr/>
          <a:lstStyle>
            <a:lvl1pPr>
              <a:defRPr baseline="0"/>
            </a:lvl1pPr>
            <a:lvl3pPr marL="453698" indent="-150042">
              <a:buFont typeface="Arial" charset="0"/>
              <a:buChar char="•"/>
              <a:tabLst/>
              <a:defRPr/>
            </a:lvl3pPr>
          </a:lstStyle>
          <a:p>
            <a:pPr lvl="0"/>
            <a:r>
              <a:rPr lang="en-US" noProof="0" dirty="0"/>
              <a:t>Text 1st level, 18 </a:t>
            </a:r>
            <a:r>
              <a:rPr lang="en-US" noProof="0" dirty="0" err="1"/>
              <a:t>pts</a:t>
            </a:r>
            <a:endParaRPr lang="en-US" noProof="0" dirty="0"/>
          </a:p>
          <a:p>
            <a:pPr lvl="1"/>
            <a:r>
              <a:rPr lang="en-US" noProof="0" dirty="0"/>
              <a:t>Text 2nd level, 16 </a:t>
            </a:r>
            <a:r>
              <a:rPr lang="en-US" noProof="0" dirty="0" err="1"/>
              <a:t>pts</a:t>
            </a:r>
            <a:endParaRPr lang="en-US" noProof="0" dirty="0"/>
          </a:p>
          <a:p>
            <a:pPr lvl="2"/>
            <a:r>
              <a:rPr lang="en-US" noProof="0" dirty="0"/>
              <a:t>Text 3rd level, 14 </a:t>
            </a:r>
            <a:r>
              <a:rPr lang="en-US" noProof="0" dirty="0" err="1"/>
              <a:t>pts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20436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7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0E1820-0937-4712-B0E9-35330A124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52B544-B2F3-4D5E-B388-7B5859F7F6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5831" indent="0">
              <a:buNone/>
              <a:defRPr sz="1688" b="1"/>
            </a:lvl2pPr>
            <a:lvl3pPr marL="771662" indent="0">
              <a:buNone/>
              <a:defRPr sz="1519" b="1"/>
            </a:lvl3pPr>
            <a:lvl4pPr marL="1157493" indent="0">
              <a:buNone/>
              <a:defRPr sz="1350" b="1"/>
            </a:lvl4pPr>
            <a:lvl5pPr marL="1543324" indent="0">
              <a:buNone/>
              <a:defRPr sz="1350" b="1"/>
            </a:lvl5pPr>
            <a:lvl6pPr marL="1929155" indent="0">
              <a:buNone/>
              <a:defRPr sz="1350" b="1"/>
            </a:lvl6pPr>
            <a:lvl7pPr marL="2314986" indent="0">
              <a:buNone/>
              <a:defRPr sz="1350" b="1"/>
            </a:lvl7pPr>
            <a:lvl8pPr marL="2700818" indent="0">
              <a:buNone/>
              <a:defRPr sz="1350" b="1"/>
            </a:lvl8pPr>
            <a:lvl9pPr marL="3086649" indent="0">
              <a:buNone/>
              <a:defRPr sz="135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83A74C-3A96-4ABC-A4AA-837FE5D72D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999DA4-8FC0-4955-AA65-091FBFE369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025" b="1"/>
            </a:lvl1pPr>
            <a:lvl2pPr marL="385831" indent="0">
              <a:buNone/>
              <a:defRPr sz="1688" b="1"/>
            </a:lvl2pPr>
            <a:lvl3pPr marL="771662" indent="0">
              <a:buNone/>
              <a:defRPr sz="1519" b="1"/>
            </a:lvl3pPr>
            <a:lvl4pPr marL="1157493" indent="0">
              <a:buNone/>
              <a:defRPr sz="1350" b="1"/>
            </a:lvl4pPr>
            <a:lvl5pPr marL="1543324" indent="0">
              <a:buNone/>
              <a:defRPr sz="1350" b="1"/>
            </a:lvl5pPr>
            <a:lvl6pPr marL="1929155" indent="0">
              <a:buNone/>
              <a:defRPr sz="1350" b="1"/>
            </a:lvl6pPr>
            <a:lvl7pPr marL="2314986" indent="0">
              <a:buNone/>
              <a:defRPr sz="1350" b="1"/>
            </a:lvl7pPr>
            <a:lvl8pPr marL="2700818" indent="0">
              <a:buNone/>
              <a:defRPr sz="1350" b="1"/>
            </a:lvl8pPr>
            <a:lvl9pPr marL="3086649" indent="0">
              <a:buNone/>
              <a:defRPr sz="135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BEFCE3A-B1F8-4605-B5D5-61822F9D88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AEAFA4-BC3A-4E64-B6EF-9C9F5DAB1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76FC98E-18B5-46CB-8F82-D3D85BB1DF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F5EF6D-8CBF-47A9-8996-12E2D7631B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BE6A6-320D-42E8-B257-CEBCAC398E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5386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66" y="1718734"/>
            <a:ext cx="11106150" cy="4519084"/>
          </a:xfrm>
          <a:prstGeom prst="rect">
            <a:avLst/>
          </a:prstGeom>
        </p:spPr>
        <p:txBody>
          <a:bodyPr/>
          <a:lstStyle>
            <a:lvl1pPr>
              <a:spcBef>
                <a:spcPts val="506"/>
              </a:spcBef>
              <a:spcAft>
                <a:spcPts val="0"/>
              </a:spcAft>
              <a:defRPr sz="1181" b="0" baseline="0"/>
            </a:lvl1pPr>
            <a:lvl2pPr marL="144687" indent="-144687">
              <a:spcBef>
                <a:spcPts val="50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097"/>
            </a:lvl2pPr>
            <a:lvl3pPr marL="289373" indent="-144687">
              <a:spcBef>
                <a:spcPts val="506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013" baseline="0"/>
            </a:lvl3pPr>
            <a:lvl4pPr marL="435400" indent="-146027">
              <a:spcBef>
                <a:spcPts val="50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80087" indent="-144687">
              <a:spcBef>
                <a:spcPts val="506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6" y="6527945"/>
            <a:ext cx="3860800" cy="20746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66" y="646258"/>
            <a:ext cx="11106150" cy="697577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79533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4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89" indent="-228589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78" indent="-228589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83" indent="-230706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72" indent="-228589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178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15660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085D2E-9516-40F4-B5E2-8310427E5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3EA6AF-5E15-4D35-BCE7-BF93AF1D70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BEE2E6-6884-43E3-93DF-64F17BDA5CF0}" type="datetimeFigureOut">
              <a:rPr lang="en-US" smtClean="0"/>
              <a:t>10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7F05E1-225A-4F72-85B5-24167A925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E899C5-7F7A-4938-83F1-C401A5BA8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65DD5-9C9F-48DC-B9DB-08B7E11BE67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25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Calibri" panose="020F050202020403020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804C102-516D-41D3-80B2-04AE68F27D2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22978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4" name="Date Placeholder 3"/>
          <p:cNvSpPr txBox="1">
            <a:spLocks noGrp="1"/>
          </p:cNvSpPr>
          <p:nvPr>
            <p:ph type="dt" sz="half" idx="10"/>
          </p:nvPr>
        </p:nvSpPr>
        <p:spPr>
          <a:xfrm>
            <a:off x="838200" y="637542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C153D9EA-90A2-4A44-82A6-0CFD9FC8067D}" type="datetime1">
              <a:rPr lang="en-US"/>
              <a:pPr>
                <a:defRPr/>
              </a:pPr>
              <a:t>10/6/2022</a:t>
            </a:fld>
            <a:endParaRPr dirty="0"/>
          </a:p>
        </p:txBody>
      </p:sp>
      <p:sp>
        <p:nvSpPr>
          <p:cNvPr id="5" name="Footer Placeholder 4"/>
          <p:cNvSpPr txBox="1">
            <a:spLocks noGrp="1"/>
          </p:cNvSpPr>
          <p:nvPr>
            <p:ph type="ftr" sz="quarter" idx="11"/>
          </p:nvPr>
        </p:nvSpPr>
        <p:spPr>
          <a:xfrm>
            <a:off x="4038600" y="6375421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dirty="0"/>
          </a:p>
        </p:txBody>
      </p:sp>
      <p:sp>
        <p:nvSpPr>
          <p:cNvPr id="6" name="Slide Number Placeholder 5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00BF412D-13A4-4566-9A38-35EE50D7A921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76745882"/>
      </p:ext>
    </p:extLst>
  </p:cSld>
  <p:clrMapOvr>
    <a:masterClrMapping/>
  </p:clrMapOvr>
  <p:transition spd="slow"/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088D7669-B582-4422-BF34-AAFEA0F80AC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B281A77D-D3CD-40CA-A89E-CA58432AEAA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4D21FE87-A5CC-47BD-A218-2021FD8BAC9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99C8114-E1C1-447C-B1EA-95D5D20D1222}" type="slidenum">
              <a:rPr lang="en-GB" altLang="en-US"/>
              <a:pPr/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174587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3445BD1D-7F01-4766-9D76-15116978ED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817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430587" y="6604000"/>
            <a:ext cx="9083432" cy="254000"/>
          </a:xfrm>
          <a:prstGeom prst="rect">
            <a:avLst/>
          </a:prstGeo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r>
              <a:rPr lang="en-US"/>
              <a:t>Note:  Gavi requirements of $122.2 million are not included in this slide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B8F7D12-62DE-453E-A7D6-231232E390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470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fld id="{9E64F902-AC44-4D3A-950E-4CCB65B6F72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BF91D19-3B0E-4E6D-B001-5225784C9A7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18954" y="2435226"/>
            <a:ext cx="9742516" cy="790113"/>
          </a:xfrm>
        </p:spPr>
        <p:txBody>
          <a:bodyPr>
            <a:noAutofit/>
          </a:bodyPr>
          <a:lstStyle>
            <a:lvl1pPr marL="0" indent="0" algn="ctr">
              <a:buNone/>
              <a:defRPr sz="40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ECE566D-B2BF-4632-A310-1CB4F0AFD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81867" y="3490913"/>
            <a:ext cx="5918200" cy="608012"/>
          </a:xfrm>
        </p:spPr>
        <p:txBody>
          <a:bodyPr>
            <a:normAutofit/>
          </a:bodyPr>
          <a:lstStyle>
            <a:lvl1pPr marL="0" indent="0" algn="ctr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823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.jpe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.jpe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6" descr="GPEI inside pages.jp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26" name="Object 1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961" y="1598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1026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61" y="1598"/>
                        <a:ext cx="1953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>
              <a:defRPr sz="1200" b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FF9D98-AD8D-4773-ABB7-627550ACBEA3}" type="slidenum">
              <a:rPr lang="en-US" altLang="en-US"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cs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7" y="365135"/>
            <a:ext cx="10515600" cy="6156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838207" y="1268766"/>
            <a:ext cx="10515600" cy="490820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557493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32" r:id="rId2"/>
    <p:sldLayoutId id="2147483733" r:id="rId3"/>
    <p:sldLayoutId id="2147483735" r:id="rId4"/>
    <p:sldLayoutId id="2147483738" r:id="rId5"/>
    <p:sldLayoutId id="2147483739" r:id="rId6"/>
  </p:sldLayoutIdLst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0" indent="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1313" indent="-111125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73088" indent="-111125" algn="l" defTabSz="457200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175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8" r:id="rId3"/>
    <p:sldLayoutId id="2147483671" r:id="rId4"/>
  </p:sldLayoutIdLst>
  <p:hf hd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GPEI inside pages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" y="6604000"/>
            <a:ext cx="2370667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CB9A389-E42F-4682-8D9E-ADBAEC272BD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187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8" r:id="rId2"/>
    <p:sldLayoutId id="2147483689" r:id="rId3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6" descr="GPEI inside pages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04000"/>
            <a:ext cx="2370016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457200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E64F902-AC44-4D3A-950E-4CCB65B6F72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156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GPEI inside pages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" y="6604000"/>
            <a:ext cx="2370667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CB9A389-E42F-4682-8D9E-ADBAEC272BD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6143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4" r:id="rId2"/>
    <p:sldLayoutId id="2147483725" r:id="rId3"/>
    <p:sldLayoutId id="2147483726" r:id="rId4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3.jpe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45BD1D-7F01-4766-9D76-15116978EDA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AutoShape 2">
            <a:extLst>
              <a:ext uri="{FF2B5EF4-FFF2-40B4-BE49-F238E27FC236}">
                <a16:creationId xmlns:a16="http://schemas.microsoft.com/office/drawing/2014/main" id="{349ACFDD-B387-4D78-B62C-396BCBD997FC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A741A55-C6EE-4DAB-92A1-DB0B6E722551}"/>
              </a:ext>
            </a:extLst>
          </p:cNvPr>
          <p:cNvSpPr txBox="1">
            <a:spLocks/>
          </p:cNvSpPr>
          <p:nvPr/>
        </p:nvSpPr>
        <p:spPr>
          <a:xfrm>
            <a:off x="2806437" y="2153854"/>
            <a:ext cx="6579123" cy="1470025"/>
          </a:xfrm>
          <a:prstGeom prst="rect">
            <a:avLst/>
          </a:prstGeom>
        </p:spPr>
        <p:txBody>
          <a:bodyPr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srgbClr val="0070C0"/>
                </a:solidFill>
                <a:latin typeface="Calibri"/>
              </a:rPr>
              <a:t>Rotary’s PolioPlus </a:t>
            </a:r>
            <a:r>
              <a:rPr lang="en-US" b="1" dirty="0" err="1">
                <a:solidFill>
                  <a:srgbClr val="0070C0"/>
                </a:solidFill>
                <a:latin typeface="Calibri"/>
              </a:rPr>
              <a:t>Programme</a:t>
            </a:r>
            <a:endParaRPr lang="en-US" b="1" dirty="0">
              <a:solidFill>
                <a:srgbClr val="4472C4">
                  <a:lumMod val="75000"/>
                </a:srgbClr>
              </a:solidFill>
              <a:latin typeface="Calibri (Body)"/>
              <a:ea typeface="+mn-ea"/>
              <a:cs typeface="+mn-cs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5E30753-E015-47C0-A6DC-82EEC04E4233}"/>
              </a:ext>
            </a:extLst>
          </p:cNvPr>
          <p:cNvSpPr txBox="1">
            <a:spLocks/>
          </p:cNvSpPr>
          <p:nvPr/>
        </p:nvSpPr>
        <p:spPr>
          <a:xfrm>
            <a:off x="1012271" y="3666358"/>
            <a:ext cx="10167457" cy="1631494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sz="2800" b="1" dirty="0">
                <a:solidFill>
                  <a:srgbClr val="4472C4">
                    <a:lumMod val="75000"/>
                  </a:srgbClr>
                </a:solidFill>
                <a:latin typeface="Calibri (Body)"/>
              </a:rPr>
              <a:t>October 2022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C38648-9D70-459F-8151-2BF40B6A24E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30" y="194207"/>
            <a:ext cx="3169279" cy="119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75333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DCBA8826-1F47-403B-BBA8-A51DC5986A72}"/>
              </a:ext>
            </a:extLst>
          </p:cNvPr>
          <p:cNvSpPr txBox="1">
            <a:spLocks/>
          </p:cNvSpPr>
          <p:nvPr/>
        </p:nvSpPr>
        <p:spPr>
          <a:xfrm>
            <a:off x="481013" y="3752849"/>
            <a:ext cx="3290887" cy="24526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 defTabSz="514350">
              <a:defRPr sz="3200" b="1">
                <a:solidFill>
                  <a:srgbClr val="0D4D95"/>
                </a:solidFill>
                <a:latin typeface="D-DIN" panose="020B0504030202030204" pitchFamily="34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36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Calibri"/>
              </a:rPr>
              <a:t>Global commitment</a:t>
            </a:r>
            <a:endParaRPr lang="en-US" sz="36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 descr="A group of people standing in front of flags&#10;&#10;Description automatically generated with medium confidence">
            <a:extLst>
              <a:ext uri="{FF2B5EF4-FFF2-40B4-BE49-F238E27FC236}">
                <a16:creationId xmlns:a16="http://schemas.microsoft.com/office/drawing/2014/main" id="{BD60C333-228B-451F-9ABA-8145E6783B2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745" b="918"/>
          <a:stretch/>
        </p:blipFill>
        <p:spPr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AAC2EB0D-396C-42DC-BB9B-E7FA9EA6A0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23982" y="3752850"/>
            <a:ext cx="7485413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/>
              <a:t>WHA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kumimoji="0" lang="en-US" sz="1800" b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Rotary Convention, Houston, TX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kumimoji="0" lang="en-US" sz="1800" b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G20 Health/Development Ministers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/>
              <a:t>G7 Leader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kumimoji="0" lang="en-US" sz="1800" b="0" u="none" strike="noStrike" cap="none" spc="0" normalizeH="0" baseline="0" noProof="0">
                <a:ln>
                  <a:noFill/>
                </a:ln>
                <a:effectLst/>
                <a:uLnTx/>
                <a:uFillTx/>
              </a:rPr>
              <a:t>Commonwealth Heads of Government</a:t>
            </a:r>
          </a:p>
          <a:p>
            <a:pPr marL="228589" lvl="2" indent="-228600">
              <a:spcBef>
                <a:spcPts val="0"/>
              </a:spcBef>
              <a:spcAft>
                <a:spcPts val="600"/>
              </a:spcAft>
            </a:pPr>
            <a:endParaRPr lang="en-US" sz="180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/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05829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3" descr="BigBen">
            <a:extLst>
              <a:ext uri="{FF2B5EF4-FFF2-40B4-BE49-F238E27FC236}">
                <a16:creationId xmlns:a16="http://schemas.microsoft.com/office/drawing/2014/main" id="{21DB4A65-2635-470F-87F5-6AE480F53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1" y="-26988"/>
            <a:ext cx="4398963" cy="689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2" descr="Bill Gates at RI Convention Jan09">
            <a:extLst>
              <a:ext uri="{FF2B5EF4-FFF2-40B4-BE49-F238E27FC236}">
                <a16:creationId xmlns:a16="http://schemas.microsoft.com/office/drawing/2014/main" id="{A48E430E-424B-4249-B297-0770D8383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963" y="2997201"/>
            <a:ext cx="5522912" cy="3819525"/>
          </a:xfrm>
          <a:prstGeom prst="rect">
            <a:avLst/>
          </a:prstGeom>
          <a:noFill/>
          <a:ln w="28575">
            <a:solidFill>
              <a:srgbClr val="99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88" name="TextBox 1">
            <a:extLst>
              <a:ext uri="{FF2B5EF4-FFF2-40B4-BE49-F238E27FC236}">
                <a16:creationId xmlns:a16="http://schemas.microsoft.com/office/drawing/2014/main" id="{82613F8C-F0F7-4E6D-AE54-0D523B6CBE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51539" y="765175"/>
            <a:ext cx="4789487" cy="1415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e-CH" altLang="en-US" sz="2400" b="1" dirty="0">
                <a:solidFill>
                  <a:srgbClr val="000066"/>
                </a:solidFill>
              </a:rPr>
              <a:t>"Rotary is the heart and soul of polio eradication!" </a:t>
            </a:r>
          </a:p>
          <a:p>
            <a:pPr algn="r" eaLnBrk="1" hangingPunct="1">
              <a:spcBef>
                <a:spcPct val="0"/>
              </a:spcBef>
              <a:buFontTx/>
              <a:buNone/>
            </a:pPr>
            <a:endParaRPr lang="de-CH" altLang="en-US" sz="1400" dirty="0">
              <a:latin typeface="Times New Roman" panose="02020603050405020304" pitchFamily="18" charset="0"/>
              <a:cs typeface="Lucida Sans Unicode" panose="020B0602030504020204" pitchFamily="34" charset="0"/>
            </a:endParaRPr>
          </a:p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de-CH" altLang="en-US" sz="2400" b="1" dirty="0">
                <a:cs typeface="Lucida Sans Unicode" panose="020B0602030504020204" pitchFamily="34" charset="0"/>
              </a:rPr>
              <a:t>Bill Gates</a:t>
            </a: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>
            <a:extLst>
              <a:ext uri="{FF2B5EF4-FFF2-40B4-BE49-F238E27FC236}">
                <a16:creationId xmlns:a16="http://schemas.microsoft.com/office/drawing/2014/main" id="{EC262BC0-C7F5-4971-A23A-65F758A97D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163" y="115055"/>
            <a:ext cx="9777413" cy="8461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49263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49263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49263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49263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49263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492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Clr>
                <a:srgbClr val="000000"/>
              </a:buClr>
              <a:buFont typeface="Times New Roman" panose="02020603050405020304" pitchFamily="18" charset="0"/>
              <a:buNone/>
            </a:pPr>
            <a:r>
              <a:rPr lang="de-CH" altLang="en-US" sz="3600" b="1" dirty="0">
                <a:solidFill>
                  <a:srgbClr val="000066"/>
                </a:solidFill>
                <a:ea typeface="MS PGothic" panose="020B0600070205080204" pitchFamily="34" charset="-128"/>
              </a:rPr>
              <a:t>Rotary’s promise: a world without polio</a:t>
            </a:r>
          </a:p>
        </p:txBody>
      </p:sp>
      <p:sp>
        <p:nvSpPr>
          <p:cNvPr id="17411" name="Rectangle 6">
            <a:extLst>
              <a:ext uri="{FF2B5EF4-FFF2-40B4-BE49-F238E27FC236}">
                <a16:creationId xmlns:a16="http://schemas.microsoft.com/office/drawing/2014/main" id="{2E90FDBC-2EAC-4E4F-A8AB-9CD41279B95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394450" y="1563688"/>
            <a:ext cx="4554538" cy="5465762"/>
          </a:xfrm>
        </p:spPr>
        <p:txBody>
          <a:bodyPr/>
          <a:lstStyle/>
          <a:p>
            <a:pPr>
              <a:spcBef>
                <a:spcPts val="180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de-CH" altLang="en-US" sz="2400" dirty="0"/>
              <a:t>Rotary first with vision of polio-free world</a:t>
            </a:r>
          </a:p>
          <a:p>
            <a:pPr>
              <a:spcBef>
                <a:spcPts val="180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de-CH" altLang="en-US" sz="2400" dirty="0"/>
              <a:t>More than US$2.7 billion raised by Rotarians personally</a:t>
            </a:r>
          </a:p>
          <a:p>
            <a:pPr>
              <a:spcBef>
                <a:spcPts val="1800"/>
              </a:spcBef>
              <a:tabLst>
                <a:tab pos="911225" algn="l"/>
                <a:tab pos="1825625" algn="l"/>
                <a:tab pos="2740025" algn="l"/>
                <a:tab pos="3654425" algn="l"/>
                <a:tab pos="4568825" algn="l"/>
                <a:tab pos="5483225" algn="l"/>
                <a:tab pos="6397625" algn="l"/>
                <a:tab pos="7312025" algn="l"/>
                <a:tab pos="8226425" algn="l"/>
                <a:tab pos="9140825" algn="l"/>
                <a:tab pos="10055225" algn="l"/>
              </a:tabLst>
            </a:pPr>
            <a:r>
              <a:rPr lang="de-CH" altLang="en-US" sz="2400" dirty="0"/>
              <a:t>More than US$10 billion in public funds secured thanks to Rotary’s advocacy efforts</a:t>
            </a:r>
          </a:p>
        </p:txBody>
      </p:sp>
      <p:pic>
        <p:nvPicPr>
          <p:cNvPr id="5" name="Picture 5" descr="SOH EndPolio 072">
            <a:extLst>
              <a:ext uri="{FF2B5EF4-FFF2-40B4-BE49-F238E27FC236}">
                <a16:creationId xmlns:a16="http://schemas.microsoft.com/office/drawing/2014/main" id="{2985739D-0E14-4017-B112-32DAB88345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3164" y="1484313"/>
            <a:ext cx="5221287" cy="3600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58" name="Group 2">
            <a:extLst>
              <a:ext uri="{FF2B5EF4-FFF2-40B4-BE49-F238E27FC236}">
                <a16:creationId xmlns:a16="http://schemas.microsoft.com/office/drawing/2014/main" id="{FA4F7B2C-28E4-40A5-B910-CF70ACA024E5}"/>
              </a:ext>
            </a:extLst>
          </p:cNvPr>
          <p:cNvGrpSpPr>
            <a:grpSpLocks/>
          </p:cNvGrpSpPr>
          <p:nvPr/>
        </p:nvGrpSpPr>
        <p:grpSpPr bwMode="auto">
          <a:xfrm>
            <a:off x="1638301" y="211138"/>
            <a:ext cx="8913813" cy="639762"/>
            <a:chOff x="324" y="133"/>
            <a:chExt cx="5832" cy="403"/>
          </a:xfrm>
        </p:grpSpPr>
        <p:sp>
          <p:nvSpPr>
            <p:cNvPr id="19462" name="AutoShape 3">
              <a:extLst>
                <a:ext uri="{FF2B5EF4-FFF2-40B4-BE49-F238E27FC236}">
                  <a16:creationId xmlns:a16="http://schemas.microsoft.com/office/drawing/2014/main" id="{056E1558-2750-41E9-8B4D-A541B63D93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" y="133"/>
              <a:ext cx="5832" cy="403"/>
            </a:xfrm>
            <a:prstGeom prst="roundRect">
              <a:avLst>
                <a:gd name="adj" fmla="val 245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sp>
          <p:nvSpPr>
            <p:cNvPr id="19463" name="Text Box 4">
              <a:extLst>
                <a:ext uri="{FF2B5EF4-FFF2-40B4-BE49-F238E27FC236}">
                  <a16:creationId xmlns:a16="http://schemas.microsoft.com/office/drawing/2014/main" id="{E0D4EB87-6A47-44F4-983E-91E57B7B25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4" y="140"/>
              <a:ext cx="5832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3000"/>
                </a:lnSpc>
                <a:spcBef>
                  <a:spcPct val="0"/>
                </a:spcBef>
                <a:buClr>
                  <a:srgbClr val="000066"/>
                </a:buClr>
                <a:buFont typeface="Arial (W1)" charset="0"/>
                <a:buNone/>
              </a:pPr>
              <a:r>
                <a:rPr lang="de-CH" altLang="en-US" sz="3600" b="1" dirty="0">
                  <a:solidFill>
                    <a:srgbClr val="000066"/>
                  </a:solidFill>
                  <a:ea typeface="MS PGothic" panose="020B0600070205080204" pitchFamily="34" charset="-128"/>
                </a:rPr>
                <a:t>Rotarians engage communities</a:t>
              </a:r>
            </a:p>
          </p:txBody>
        </p:sp>
      </p:grpSp>
      <p:sp>
        <p:nvSpPr>
          <p:cNvPr id="19459" name="AutoShape 5">
            <a:extLst>
              <a:ext uri="{FF2B5EF4-FFF2-40B4-BE49-F238E27FC236}">
                <a16:creationId xmlns:a16="http://schemas.microsoft.com/office/drawing/2014/main" id="{B409A876-53EF-4132-B050-A2BCEB1F6A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1276" y="1130300"/>
            <a:ext cx="4138613" cy="4457700"/>
          </a:xfrm>
          <a:prstGeom prst="roundRect">
            <a:avLst>
              <a:gd name="adj" fmla="val 32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76327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CH" altLang="en-US" sz="1800"/>
          </a:p>
        </p:txBody>
      </p:sp>
      <p:pic>
        <p:nvPicPr>
          <p:cNvPr id="19461" name="Picture 7">
            <a:extLst>
              <a:ext uri="{FF2B5EF4-FFF2-40B4-BE49-F238E27FC236}">
                <a16:creationId xmlns:a16="http://schemas.microsoft.com/office/drawing/2014/main" id="{1630180A-7B91-4178-9A3E-B62D9CD7C4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99"/>
          <a:stretch>
            <a:fillRect/>
          </a:stretch>
        </p:blipFill>
        <p:spPr bwMode="auto">
          <a:xfrm>
            <a:off x="3870325" y="1182688"/>
            <a:ext cx="4108450" cy="439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 Box 2">
            <a:extLst>
              <a:ext uri="{FF2B5EF4-FFF2-40B4-BE49-F238E27FC236}">
                <a16:creationId xmlns:a16="http://schemas.microsoft.com/office/drawing/2014/main" id="{F4B797DC-4028-478D-ACEB-54A8DF6CF9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4789" y="5764214"/>
            <a:ext cx="4473575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3000"/>
              </a:lnSpc>
              <a:spcBef>
                <a:spcPct val="0"/>
              </a:spcBef>
              <a:buClr>
                <a:srgbClr val="000000"/>
              </a:buClr>
              <a:buFontTx/>
              <a:buNone/>
            </a:pPr>
            <a:r>
              <a:rPr lang="de-CH" altLang="en-US" sz="2000" dirty="0"/>
              <a:t>Rotary/UN peace negotations: </a:t>
            </a:r>
          </a:p>
          <a:p>
            <a:pPr algn="ctr" eaLnBrk="1" hangingPunct="1">
              <a:spcBef>
                <a:spcPct val="0"/>
              </a:spcBef>
              <a:buClr>
                <a:srgbClr val="000000"/>
              </a:buClr>
              <a:buFontTx/>
              <a:buNone/>
            </a:pPr>
            <a:r>
              <a:rPr lang="de-CH" altLang="en-US" sz="2000" dirty="0"/>
              <a:t>Cote d’Ivoire, February 2005</a:t>
            </a:r>
          </a:p>
        </p:txBody>
      </p:sp>
      <p:pic>
        <p:nvPicPr>
          <p:cNvPr id="21507" name="Picture 4">
            <a:extLst>
              <a:ext uri="{FF2B5EF4-FFF2-40B4-BE49-F238E27FC236}">
                <a16:creationId xmlns:a16="http://schemas.microsoft.com/office/drawing/2014/main" id="{7CC258E2-6C44-4688-A74A-F7612FCBC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3451" y="949326"/>
            <a:ext cx="8005763" cy="464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8" name="AutoShape 6">
            <a:extLst>
              <a:ext uri="{FF2B5EF4-FFF2-40B4-BE49-F238E27FC236}">
                <a16:creationId xmlns:a16="http://schemas.microsoft.com/office/drawing/2014/main" id="{7F32C5F0-A65C-49E4-9FA4-DF6B7CC881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4775" y="269876"/>
            <a:ext cx="4197281" cy="495265"/>
          </a:xfrm>
          <a:prstGeom prst="roundRect">
            <a:avLst>
              <a:gd name="adj" fmla="val 306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ct val="0"/>
              </a:spcBef>
              <a:buClr>
                <a:srgbClr val="000066"/>
              </a:buClr>
              <a:buFontTx/>
              <a:buNone/>
            </a:pPr>
            <a:r>
              <a:rPr lang="de-CH" altLang="en-US" sz="2800" b="1" dirty="0">
                <a:solidFill>
                  <a:srgbClr val="000066"/>
                </a:solidFill>
              </a:rPr>
              <a:t>Rotary:  bringing peace</a:t>
            </a:r>
          </a:p>
        </p:txBody>
      </p:sp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2">
            <a:extLst>
              <a:ext uri="{FF2B5EF4-FFF2-40B4-BE49-F238E27FC236}">
                <a16:creationId xmlns:a16="http://schemas.microsoft.com/office/drawing/2014/main" id="{4C3BCABE-B7D4-40AD-9D7D-E32B6A4D4C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18413" y="139700"/>
            <a:ext cx="3440112" cy="6629400"/>
          </a:xfrm>
          <a:prstGeom prst="rect">
            <a:avLst/>
          </a:prstGeom>
          <a:gradFill rotWithShape="1">
            <a:gsLst>
              <a:gs pos="0">
                <a:srgbClr val="CCCCCC">
                  <a:alpha val="51999"/>
                </a:srgbClr>
              </a:gs>
              <a:gs pos="100000">
                <a:srgbClr val="C0C0C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lang="en-US" altLang="en-US" sz="1800"/>
          </a:p>
        </p:txBody>
      </p:sp>
      <p:pic>
        <p:nvPicPr>
          <p:cNvPr id="64515" name="Picture 3">
            <a:extLst>
              <a:ext uri="{FF2B5EF4-FFF2-40B4-BE49-F238E27FC236}">
                <a16:creationId xmlns:a16="http://schemas.microsoft.com/office/drawing/2014/main" id="{8BFEB543-D4C5-4D0A-8201-469623DE8F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789" y="127000"/>
            <a:ext cx="4835525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4516" name="Group 4">
            <a:extLst>
              <a:ext uri="{FF2B5EF4-FFF2-40B4-BE49-F238E27FC236}">
                <a16:creationId xmlns:a16="http://schemas.microsoft.com/office/drawing/2014/main" id="{CDF3729A-2453-4B03-94D3-66C54CC4C8A0}"/>
              </a:ext>
            </a:extLst>
          </p:cNvPr>
          <p:cNvGrpSpPr>
            <a:grpSpLocks/>
          </p:cNvGrpSpPr>
          <p:nvPr/>
        </p:nvGrpSpPr>
        <p:grpSpPr bwMode="auto">
          <a:xfrm>
            <a:off x="9625014" y="5094288"/>
            <a:ext cx="1296987" cy="1524000"/>
            <a:chOff x="5251" y="2931"/>
            <a:chExt cx="817" cy="998"/>
          </a:xfrm>
        </p:grpSpPr>
        <p:sp>
          <p:nvSpPr>
            <p:cNvPr id="64519" name="Rectangle 5">
              <a:extLst>
                <a:ext uri="{FF2B5EF4-FFF2-40B4-BE49-F238E27FC236}">
                  <a16:creationId xmlns:a16="http://schemas.microsoft.com/office/drawing/2014/main" id="{DA0B3261-3E08-4E30-878A-22A8F5B9A7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51" y="2932"/>
              <a:ext cx="814" cy="997"/>
            </a:xfrm>
            <a:prstGeom prst="rect">
              <a:avLst/>
            </a:prstGeom>
            <a:solidFill>
              <a:srgbClr val="CC0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</a:pPr>
              <a:endParaRPr lang="en-US" altLang="en-US" sz="1800"/>
            </a:p>
          </p:txBody>
        </p:sp>
        <p:pic>
          <p:nvPicPr>
            <p:cNvPr id="64520" name="Picture 6" descr="endpolionow (2)">
              <a:extLst>
                <a:ext uri="{FF2B5EF4-FFF2-40B4-BE49-F238E27FC236}">
                  <a16:creationId xmlns:a16="http://schemas.microsoft.com/office/drawing/2014/main" id="{2E256707-0859-4658-86A8-04E57A3033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EC1B30"/>
                </a:clrFrom>
                <a:clrTo>
                  <a:srgbClr val="EC1B3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1" y="2931"/>
              <a:ext cx="817" cy="9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8575">
                  <a:solidFill>
                    <a:schemeClr val="bg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Rectangle 2">
            <a:extLst>
              <a:ext uri="{FF2B5EF4-FFF2-40B4-BE49-F238E27FC236}">
                <a16:creationId xmlns:a16="http://schemas.microsoft.com/office/drawing/2014/main" id="{685AA249-8626-487A-A594-6D2C2147FB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3026" y="309564"/>
            <a:ext cx="4818063" cy="1100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040" tIns="44020" rIns="88040" bIns="44020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sz="3851" b="1" i="1" dirty="0">
                <a:solidFill>
                  <a:srgbClr val="000066"/>
                </a:solidFill>
              </a:rPr>
              <a:t>Thanks to PolioPlus</a:t>
            </a:r>
            <a:endParaRPr lang="en-US" sz="3081" b="1" i="1" dirty="0">
              <a:solidFill>
                <a:srgbClr val="000066"/>
              </a:solidFill>
            </a:endParaRP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B33ADF1-94C9-4C68-8406-FDC82636E0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609" y="1495547"/>
            <a:ext cx="5081588" cy="4357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8040" tIns="44020" rIns="88040" bIns="44020"/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ctr" rtl="0" fontAlgn="base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r>
              <a:rPr lang="fr-FR" sz="2696" dirty="0"/>
              <a:t>&gt;20 million cases </a:t>
            </a:r>
            <a:r>
              <a:rPr lang="fr-FR" sz="2696" dirty="0" err="1"/>
              <a:t>averted</a:t>
            </a:r>
            <a:endParaRPr lang="fr-FR" sz="2696" dirty="0"/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endParaRPr lang="en-GB" sz="2696" dirty="0"/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r>
              <a:rPr lang="en-GB" sz="2696" dirty="0"/>
              <a:t>&gt;1.5 million lives saved</a:t>
            </a:r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endParaRPr lang="en-GB" sz="2696" dirty="0"/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r>
              <a:rPr lang="en-GB" sz="2696" dirty="0"/>
              <a:t>&gt;20 million volunteers mobilised</a:t>
            </a:r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endParaRPr lang="en-GB" sz="2696" dirty="0"/>
          </a:p>
          <a:p>
            <a:pPr eaLnBrk="1" hangingPunct="1">
              <a:lnSpc>
                <a:spcPct val="90000"/>
              </a:lnSpc>
              <a:spcBef>
                <a:spcPts val="1733"/>
              </a:spcBef>
              <a:defRPr/>
            </a:pPr>
            <a:r>
              <a:rPr lang="en-GB" sz="2696" dirty="0"/>
              <a:t>&gt;400 million children vaccinated (every year)</a:t>
            </a:r>
          </a:p>
          <a:p>
            <a:pPr eaLnBrk="1" hangingPunct="1">
              <a:lnSpc>
                <a:spcPct val="90000"/>
              </a:lnSpc>
              <a:defRPr/>
            </a:pPr>
            <a:endParaRPr lang="en-US" sz="2311" dirty="0"/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>
            <a:extLst>
              <a:ext uri="{FF2B5EF4-FFF2-40B4-BE49-F238E27FC236}">
                <a16:creationId xmlns:a16="http://schemas.microsoft.com/office/drawing/2014/main" id="{DC2521A4-5517-403E-859A-59A368BE9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3" t="4129" r="6050" b="24483"/>
          <a:stretch>
            <a:fillRect/>
          </a:stretch>
        </p:blipFill>
        <p:spPr bwMode="auto">
          <a:xfrm>
            <a:off x="3124201" y="228601"/>
            <a:ext cx="5764213" cy="642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up 3">
            <a:extLst>
              <a:ext uri="{FF2B5EF4-FFF2-40B4-BE49-F238E27FC236}">
                <a16:creationId xmlns:a16="http://schemas.microsoft.com/office/drawing/2014/main" id="{6A95F69F-16AB-400E-963B-AC4E4E3027E8}"/>
              </a:ext>
            </a:extLst>
          </p:cNvPr>
          <p:cNvGrpSpPr>
            <a:grpSpLocks/>
          </p:cNvGrpSpPr>
          <p:nvPr/>
        </p:nvGrpSpPr>
        <p:grpSpPr bwMode="auto">
          <a:xfrm>
            <a:off x="1806575" y="1143001"/>
            <a:ext cx="6483350" cy="4073525"/>
            <a:chOff x="434" y="728"/>
            <a:chExt cx="4242" cy="2152"/>
          </a:xfrm>
        </p:grpSpPr>
        <p:sp>
          <p:nvSpPr>
            <p:cNvPr id="25604" name="Freeform 4">
              <a:extLst>
                <a:ext uri="{FF2B5EF4-FFF2-40B4-BE49-F238E27FC236}">
                  <a16:creationId xmlns:a16="http://schemas.microsoft.com/office/drawing/2014/main" id="{C62A54CF-8A75-479C-8C32-FEAB7C1C34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" y="767"/>
              <a:ext cx="4242" cy="2113"/>
            </a:xfrm>
            <a:custGeom>
              <a:avLst/>
              <a:gdLst>
                <a:gd name="T0" fmla="*/ 0 w 18707"/>
                <a:gd name="T1" fmla="*/ 0 h 9319"/>
                <a:gd name="T2" fmla="*/ 0 w 18707"/>
                <a:gd name="T3" fmla="*/ 0 h 9319"/>
                <a:gd name="T4" fmla="*/ 0 w 18707"/>
                <a:gd name="T5" fmla="*/ 0 h 9319"/>
                <a:gd name="T6" fmla="*/ 0 w 18707"/>
                <a:gd name="T7" fmla="*/ 0 h 9319"/>
                <a:gd name="T8" fmla="*/ 0 w 18707"/>
                <a:gd name="T9" fmla="*/ 0 h 9319"/>
                <a:gd name="T10" fmla="*/ 0 w 18707"/>
                <a:gd name="T11" fmla="*/ 0 h 9319"/>
                <a:gd name="T12" fmla="*/ 0 w 18707"/>
                <a:gd name="T13" fmla="*/ 0 h 9319"/>
                <a:gd name="T14" fmla="*/ 0 w 18707"/>
                <a:gd name="T15" fmla="*/ 0 h 9319"/>
                <a:gd name="T16" fmla="*/ 0 w 18707"/>
                <a:gd name="T17" fmla="*/ 0 h 9319"/>
                <a:gd name="T18" fmla="*/ 0 w 18707"/>
                <a:gd name="T19" fmla="*/ 0 h 9319"/>
                <a:gd name="T20" fmla="*/ 0 w 18707"/>
                <a:gd name="T21" fmla="*/ 0 h 931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707"/>
                <a:gd name="T34" fmla="*/ 0 h 9319"/>
                <a:gd name="T35" fmla="*/ 18707 w 18707"/>
                <a:gd name="T36" fmla="*/ 9319 h 931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707" h="9319">
                  <a:moveTo>
                    <a:pt x="18706" y="1113"/>
                  </a:moveTo>
                  <a:cubicBezTo>
                    <a:pt x="18706" y="557"/>
                    <a:pt x="17364" y="0"/>
                    <a:pt x="16022" y="0"/>
                  </a:cubicBezTo>
                  <a:lnTo>
                    <a:pt x="2685" y="0"/>
                  </a:lnTo>
                  <a:cubicBezTo>
                    <a:pt x="1343" y="0"/>
                    <a:pt x="0" y="557"/>
                    <a:pt x="0" y="1113"/>
                  </a:cubicBezTo>
                  <a:lnTo>
                    <a:pt x="0" y="6648"/>
                  </a:lnTo>
                  <a:cubicBezTo>
                    <a:pt x="0" y="7205"/>
                    <a:pt x="1343" y="7762"/>
                    <a:pt x="2685" y="7762"/>
                  </a:cubicBezTo>
                  <a:lnTo>
                    <a:pt x="10825" y="7762"/>
                  </a:lnTo>
                  <a:lnTo>
                    <a:pt x="17581" y="9318"/>
                  </a:lnTo>
                  <a:lnTo>
                    <a:pt x="15675" y="7762"/>
                  </a:lnTo>
                  <a:cubicBezTo>
                    <a:pt x="17191" y="7762"/>
                    <a:pt x="18706" y="7223"/>
                    <a:pt x="18706" y="6684"/>
                  </a:cubicBezTo>
                  <a:lnTo>
                    <a:pt x="18706" y="1113"/>
                  </a:lnTo>
                </a:path>
              </a:pathLst>
            </a:custGeom>
            <a:solidFill>
              <a:srgbClr val="FFFFFF"/>
            </a:solidFill>
            <a:ln w="57240">
              <a:solidFill>
                <a:srgbClr val="FF000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605" name="Text Box 5">
              <a:extLst>
                <a:ext uri="{FF2B5EF4-FFF2-40B4-BE49-F238E27FC236}">
                  <a16:creationId xmlns:a16="http://schemas.microsoft.com/office/drawing/2014/main" id="{23229CB8-67CE-45AE-A13E-0BD1AEEB40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55" y="728"/>
              <a:ext cx="3732" cy="10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0000" tIns="46800" rIns="90000" bIns="4680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32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4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 sz="2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ct val="0"/>
                </a:spcBef>
                <a:buClr>
                  <a:srgbClr val="FF0000"/>
                </a:buClr>
                <a:buFont typeface="Times New Roman" panose="02020603050405020304" pitchFamily="18" charset="0"/>
                <a:buNone/>
              </a:pPr>
              <a:r>
                <a:rPr lang="de-CH" altLang="en-US" sz="4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Lucida Sans Unicode" panose="020B0602030504020204" pitchFamily="34" charset="0"/>
                </a:rPr>
                <a:t>Rotary’s PolioPlus effort deserves the Nobel Peace Prize</a:t>
              </a:r>
              <a:r>
                <a:rPr lang="en-GB" altLang="en-US" sz="44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Lucida Sans Unicode" panose="020B0602030504020204" pitchFamily="34" charset="0"/>
                </a:rPr>
                <a:t>.</a:t>
              </a:r>
            </a:p>
          </p:txBody>
        </p:sp>
      </p:grpSp>
    </p:spTree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787B1E9-17CB-4DFD-8F09-F80C6E659F3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5DEE5B-CA4F-486D-A403-B2C7C42F572B}" type="slidenum">
              <a:rPr lang="en-US" altLang="en-US" smtClean="0"/>
              <a:pPr/>
              <a:t>17</a:t>
            </a:fld>
            <a:endParaRPr lang="en-US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AE59FCF-3226-4E1C-9C8B-05955409F2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5504" y="0"/>
            <a:ext cx="50409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8194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D865EF7-94B7-4A78-8C16-B9D9F4D5BD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5DEE5B-CA4F-486D-A403-B2C7C42F572B}" type="slidenum">
              <a:rPr lang="en-US" altLang="en-US" smtClean="0"/>
              <a:pPr/>
              <a:t>18</a:t>
            </a:fld>
            <a:endParaRPr lang="en-US" alt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F12EB1-2A2B-4DAA-8F28-4394B19A75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989" y="0"/>
            <a:ext cx="11637196" cy="660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21682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AutoShape 2">
            <a:extLst>
              <a:ext uri="{FF2B5EF4-FFF2-40B4-BE49-F238E27FC236}">
                <a16:creationId xmlns:a16="http://schemas.microsoft.com/office/drawing/2014/main" id="{D53D84F3-8C17-455C-956C-A6F6801B82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5900" y="263525"/>
            <a:ext cx="7061200" cy="723900"/>
          </a:xfrm>
          <a:prstGeom prst="roundRect">
            <a:avLst>
              <a:gd name="adj" fmla="val 208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000" tIns="46800" rIns="90000" bIns="46800">
            <a:spAutoFit/>
          </a:bodyPr>
          <a:lstStyle>
            <a:lvl1pPr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lnSpc>
                <a:spcPct val="93000"/>
              </a:lnSpc>
              <a:spcBef>
                <a:spcPct val="0"/>
              </a:spcBef>
              <a:buClr>
                <a:srgbClr val="FF0000"/>
              </a:buClr>
              <a:buFont typeface="Arial (W1)" charset="0"/>
              <a:buNone/>
            </a:pPr>
            <a:r>
              <a:rPr lang="de-CH" altLang="en-US" sz="4400" b="1">
                <a:solidFill>
                  <a:srgbClr val="000066"/>
                </a:solidFill>
                <a:latin typeface="Arial (W1)" charset="0"/>
              </a:rPr>
              <a:t>www.polioeradication.org</a:t>
            </a:r>
          </a:p>
        </p:txBody>
      </p:sp>
      <p:pic>
        <p:nvPicPr>
          <p:cNvPr id="27651" name="Picture 3" descr="polio_booth_261">
            <a:extLst>
              <a:ext uri="{FF2B5EF4-FFF2-40B4-BE49-F238E27FC236}">
                <a16:creationId xmlns:a16="http://schemas.microsoft.com/office/drawing/2014/main" id="{B2C53C52-7F09-44AA-AD71-2EFDEAC856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5551" y="1171575"/>
            <a:ext cx="7419975" cy="5137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0A429F47-C58B-457A-9A22-009FF7CE31C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4800600" y="2349500"/>
            <a:ext cx="2374900" cy="1143000"/>
          </a:xfrm>
        </p:spPr>
        <p:txBody>
          <a:bodyPr/>
          <a:lstStyle/>
          <a:p>
            <a:pPr eaLnBrk="1" hangingPunct="1"/>
            <a:r>
              <a:rPr lang="de-CH" altLang="en-US" sz="4800" b="1">
                <a:solidFill>
                  <a:srgbClr val="990000"/>
                </a:solidFill>
              </a:rPr>
              <a:t>Polio</a:t>
            </a:r>
          </a:p>
        </p:txBody>
      </p:sp>
      <p:pic>
        <p:nvPicPr>
          <p:cNvPr id="4099" name="Picture 5" descr="ISA PHOTOS 049">
            <a:extLst>
              <a:ext uri="{FF2B5EF4-FFF2-40B4-BE49-F238E27FC236}">
                <a16:creationId xmlns:a16="http://schemas.microsoft.com/office/drawing/2014/main" id="{462F66B4-DDB3-4973-BF36-5224592BE6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8925" y="131764"/>
            <a:ext cx="3098800" cy="2860675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10" descr="DSCN2701">
            <a:extLst>
              <a:ext uri="{FF2B5EF4-FFF2-40B4-BE49-F238E27FC236}">
                <a16:creationId xmlns:a16="http://schemas.microsoft.com/office/drawing/2014/main" id="{90F4F397-F31D-4E75-B919-00D421E70A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439" y="3617914"/>
            <a:ext cx="3959225" cy="2617787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11" descr="5Mohcrawling">
            <a:extLst>
              <a:ext uri="{FF2B5EF4-FFF2-40B4-BE49-F238E27FC236}">
                <a16:creationId xmlns:a16="http://schemas.microsoft.com/office/drawing/2014/main" id="{F90FF041-009D-4828-80CF-6F566C5D1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939" y="79375"/>
            <a:ext cx="3455987" cy="2967038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02" name="Text Box 12">
            <a:extLst>
              <a:ext uri="{FF2B5EF4-FFF2-40B4-BE49-F238E27FC236}">
                <a16:creationId xmlns:a16="http://schemas.microsoft.com/office/drawing/2014/main" id="{80A1BCA7-9DCD-486E-B9DC-13B2175879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0513" y="2994025"/>
            <a:ext cx="3097212" cy="369888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CH" altLang="en-US" sz="1800" b="1" dirty="0">
                <a:solidFill>
                  <a:schemeClr val="accent2"/>
                </a:solidFill>
              </a:rPr>
              <a:t>Lifelong paralysis</a:t>
            </a:r>
          </a:p>
        </p:txBody>
      </p:sp>
      <p:sp>
        <p:nvSpPr>
          <p:cNvPr id="4103" name="Text Box 13">
            <a:extLst>
              <a:ext uri="{FF2B5EF4-FFF2-40B4-BE49-F238E27FC236}">
                <a16:creationId xmlns:a16="http://schemas.microsoft.com/office/drawing/2014/main" id="{B2B453C0-447F-4391-9769-B9E7399066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6939" y="3065464"/>
            <a:ext cx="3457575" cy="369887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CH" altLang="en-US" sz="1800" b="1" dirty="0">
                <a:solidFill>
                  <a:schemeClr val="accent2"/>
                </a:solidFill>
              </a:rPr>
              <a:t>Children most at risk</a:t>
            </a:r>
          </a:p>
        </p:txBody>
      </p:sp>
      <p:sp>
        <p:nvSpPr>
          <p:cNvPr id="4104" name="Text Box 14">
            <a:extLst>
              <a:ext uri="{FF2B5EF4-FFF2-40B4-BE49-F238E27FC236}">
                <a16:creationId xmlns:a16="http://schemas.microsoft.com/office/drawing/2014/main" id="{716052D5-4F7F-4A1E-A084-9122E1C6C3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06851" y="6237289"/>
            <a:ext cx="3960813" cy="369887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de-CH" altLang="en-US" sz="1800" b="1" dirty="0">
                <a:solidFill>
                  <a:schemeClr val="accent2"/>
                </a:solidFill>
              </a:rPr>
              <a:t>Preventable thru vaccination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0EBB65A2-DE06-4E2A-903B-8051C76C931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CH" altLang="en-US" sz="3000" b="1" dirty="0">
                <a:solidFill>
                  <a:srgbClr val="000066"/>
                </a:solidFill>
              </a:rPr>
              <a:t>1955:  first vaccines developed</a:t>
            </a:r>
            <a:br>
              <a:rPr lang="de-CH" altLang="en-US" sz="3000" b="1" dirty="0">
                <a:latin typeface="Arial (W1)" charset="0"/>
              </a:rPr>
            </a:br>
            <a:r>
              <a:rPr lang="de-CH" altLang="en-US" sz="2400" b="1" dirty="0">
                <a:latin typeface="Arial (W1)" charset="0"/>
              </a:rPr>
              <a:t>Polio rapidly disappears from developed countries</a:t>
            </a:r>
          </a:p>
        </p:txBody>
      </p:sp>
      <p:pic>
        <p:nvPicPr>
          <p:cNvPr id="6147" name="Picture 3" descr="EPI1-57">
            <a:extLst>
              <a:ext uri="{FF2B5EF4-FFF2-40B4-BE49-F238E27FC236}">
                <a16:creationId xmlns:a16="http://schemas.microsoft.com/office/drawing/2014/main" id="{58BCBCCF-91EF-41E7-9E04-0C0AF3A2B1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1" y="1484314"/>
            <a:ext cx="4956175" cy="323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4" descr="EPI1-61">
            <a:extLst>
              <a:ext uri="{FF2B5EF4-FFF2-40B4-BE49-F238E27FC236}">
                <a16:creationId xmlns:a16="http://schemas.microsoft.com/office/drawing/2014/main" id="{4B4CAF5D-4F99-49DD-A2D8-8C145E065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1239" y="3387726"/>
            <a:ext cx="498157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RI $240m Announce">
            <a:extLst>
              <a:ext uri="{FF2B5EF4-FFF2-40B4-BE49-F238E27FC236}">
                <a16:creationId xmlns:a16="http://schemas.microsoft.com/office/drawing/2014/main" id="{7FF73587-4B2E-4BEB-868D-199473AC10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lum bright="6000"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51" y="1363664"/>
            <a:ext cx="7089775" cy="4759325"/>
          </a:xfrm>
          <a:prstGeom prst="rect">
            <a:avLst/>
          </a:prstGeom>
          <a:noFill/>
          <a:ln w="38100">
            <a:solidFill>
              <a:srgbClr val="9933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71" name="TextBox 2">
            <a:extLst>
              <a:ext uri="{FF2B5EF4-FFF2-40B4-BE49-F238E27FC236}">
                <a16:creationId xmlns:a16="http://schemas.microsoft.com/office/drawing/2014/main" id="{E2BD9441-727C-47D2-869B-C95D5A4EF8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3556" y="525570"/>
            <a:ext cx="1116488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de-CH" altLang="en-US" sz="3400" b="1" dirty="0">
                <a:solidFill>
                  <a:srgbClr val="002060"/>
                </a:solidFill>
              </a:rPr>
              <a:t>Launch of PolioPlus!  Philadelphia, 1985</a:t>
            </a:r>
          </a:p>
        </p:txBody>
      </p:sp>
      <p:pic>
        <p:nvPicPr>
          <p:cNvPr id="7172" name="Picture 1">
            <a:extLst>
              <a:ext uri="{FF2B5EF4-FFF2-40B4-BE49-F238E27FC236}">
                <a16:creationId xmlns:a16="http://schemas.microsoft.com/office/drawing/2014/main" id="{589FE35D-ABB0-4526-A000-A9DC9061B1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2489" y="2133601"/>
            <a:ext cx="2447925" cy="244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FEA4B3-1D48-8F40-A0AD-7BAC2A4A58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7D12-62DE-453E-A7D6-231232E390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Pentagon 3">
            <a:extLst>
              <a:ext uri="{FF2B5EF4-FFF2-40B4-BE49-F238E27FC236}">
                <a16:creationId xmlns:a16="http://schemas.microsoft.com/office/drawing/2014/main" id="{D10A4FCE-D26E-3149-A19C-443957AAC849}"/>
              </a:ext>
            </a:extLst>
          </p:cNvPr>
          <p:cNvSpPr/>
          <p:nvPr/>
        </p:nvSpPr>
        <p:spPr>
          <a:xfrm>
            <a:off x="-16080" y="678874"/>
            <a:ext cx="4448110" cy="5486400"/>
          </a:xfrm>
          <a:prstGeom prst="homePlate">
            <a:avLst>
              <a:gd name="adj" fmla="val 20725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D83048-90ED-DC46-A53E-13F4E6026E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84078" y="2426844"/>
            <a:ext cx="1973686" cy="62212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21D014-4B4E-484D-9BB3-8B5C58C0FC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880" y="3021415"/>
            <a:ext cx="2132847" cy="80131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38AE5FC-87A3-4B4D-AF60-C3D50F4C5E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18789" y="4318274"/>
            <a:ext cx="990753" cy="71519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9F611EFA-9E26-424E-80F7-0AC9F09CB5C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844" y="2552181"/>
            <a:ext cx="1642798" cy="3965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EDB7DB3-7857-3F46-A1FA-BAB0DA00955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810" y="4534554"/>
            <a:ext cx="2132848" cy="429876"/>
          </a:xfrm>
          <a:prstGeom prst="rect">
            <a:avLst/>
          </a:prstGeom>
        </p:spPr>
      </p:pic>
      <p:sp>
        <p:nvSpPr>
          <p:cNvPr id="10" name="Text Box 7">
            <a:extLst>
              <a:ext uri="{FF2B5EF4-FFF2-40B4-BE49-F238E27FC236}">
                <a16:creationId xmlns:a16="http://schemas.microsoft.com/office/drawing/2014/main" id="{5B43E58C-A228-7043-8982-8AC85F7F39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52750" y="1419225"/>
            <a:ext cx="1722831" cy="386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Health ministries</a:t>
            </a:r>
            <a:endParaRPr kumimoji="0" lang="en-US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DIN Alternate Bold"/>
            </a:endParaRPr>
          </a:p>
        </p:txBody>
      </p:sp>
      <p:sp>
        <p:nvSpPr>
          <p:cNvPr id="11" name="Text Box 14">
            <a:extLst>
              <a:ext uri="{FF2B5EF4-FFF2-40B4-BE49-F238E27FC236}">
                <a16:creationId xmlns:a16="http://schemas.microsoft.com/office/drawing/2014/main" id="{BDB29738-78D1-9B4A-91AE-953622099B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71404" y="5225672"/>
            <a:ext cx="5993031" cy="670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Donors</a:t>
            </a:r>
            <a:br>
              <a:rPr kumimoji="0" lang="en-GB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</a:br>
            <a:r>
              <a:rPr kumimoji="0" lang="en-GB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(governments, development banks, private foundations, etc)</a:t>
            </a:r>
            <a:endParaRPr kumimoji="0" lang="en-US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DIN Alternate Bold"/>
            </a:endParaRPr>
          </a:p>
        </p:txBody>
      </p:sp>
      <p:sp>
        <p:nvSpPr>
          <p:cNvPr id="12" name="Text Box 16">
            <a:extLst>
              <a:ext uri="{FF2B5EF4-FFF2-40B4-BE49-F238E27FC236}">
                <a16:creationId xmlns:a16="http://schemas.microsoft.com/office/drawing/2014/main" id="{6759FA05-40F0-ED4F-90C8-CA2677169AA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9775" y="1419225"/>
            <a:ext cx="2136290" cy="386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Private</a:t>
            </a:r>
            <a:b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</a:b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sector</a:t>
            </a:r>
          </a:p>
        </p:txBody>
      </p:sp>
      <p:sp>
        <p:nvSpPr>
          <p:cNvPr id="13" name="Text Box 17">
            <a:extLst>
              <a:ext uri="{FF2B5EF4-FFF2-40B4-BE49-F238E27FC236}">
                <a16:creationId xmlns:a16="http://schemas.microsoft.com/office/drawing/2014/main" id="{7D367E73-9B5A-8642-8851-40B5554AA7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127599" y="3514281"/>
            <a:ext cx="934801" cy="386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Media</a:t>
            </a:r>
            <a:endParaRPr kumimoji="0" lang="en-US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DIN Alternate Bold"/>
            </a:endParaRPr>
          </a:p>
        </p:txBody>
      </p:sp>
      <p:sp>
        <p:nvSpPr>
          <p:cNvPr id="14" name="Text Box 18">
            <a:extLst>
              <a:ext uri="{FF2B5EF4-FFF2-40B4-BE49-F238E27FC236}">
                <a16:creationId xmlns:a16="http://schemas.microsoft.com/office/drawing/2014/main" id="{797FCB37-34DC-794E-9702-A9B55ED5BF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201" y="3531589"/>
            <a:ext cx="1045928" cy="386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NGOs</a:t>
            </a:r>
            <a:endParaRPr kumimoji="0" lang="en-US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DIN Alternate Bold"/>
            </a:endParaRPr>
          </a:p>
        </p:txBody>
      </p:sp>
      <p:sp>
        <p:nvSpPr>
          <p:cNvPr id="15" name="Text Box 7">
            <a:extLst>
              <a:ext uri="{FF2B5EF4-FFF2-40B4-BE49-F238E27FC236}">
                <a16:creationId xmlns:a16="http://schemas.microsoft.com/office/drawing/2014/main" id="{D8D415DC-86FD-034F-B1F7-1F2FA7F48D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44156" y="1419225"/>
            <a:ext cx="1901687" cy="71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ctr" defTabSz="914400" rtl="0" eaLnBrk="0" fontAlgn="auto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"/>
                <a:ea typeface="+mn-ea"/>
                <a:cs typeface="DIN Alternate Bold"/>
              </a:rPr>
              <a:t>20 million volunteers</a:t>
            </a:r>
            <a:endParaRPr kumimoji="0" lang="en-US" altLang="en-US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"/>
              <a:ea typeface="+mn-ea"/>
              <a:cs typeface="DIN Alternate Bold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DFD6F5F-F7C8-FC40-8B79-36EAD906E59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6461" y="4318273"/>
            <a:ext cx="1617076" cy="862439"/>
          </a:xfrm>
          <a:prstGeom prst="rect">
            <a:avLst/>
          </a:prstGeom>
        </p:spPr>
      </p:pic>
      <p:sp>
        <p:nvSpPr>
          <p:cNvPr id="18" name="Rectangle 2">
            <a:extLst>
              <a:ext uri="{FF2B5EF4-FFF2-40B4-BE49-F238E27FC236}">
                <a16:creationId xmlns:a16="http://schemas.microsoft.com/office/drawing/2014/main" id="{1061FC8C-1EF8-A641-9936-4EAEF7C5716D}"/>
              </a:ext>
            </a:extLst>
          </p:cNvPr>
          <p:cNvSpPr txBox="1">
            <a:spLocks noChangeArrowheads="1"/>
          </p:cNvSpPr>
          <p:nvPr/>
        </p:nvSpPr>
        <p:spPr>
          <a:xfrm>
            <a:off x="845968" y="887346"/>
            <a:ext cx="2941552" cy="4912872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ny partners</a:t>
            </a:r>
          </a:p>
          <a:p>
            <a:pPr marL="0" marR="0" lvl="0" indent="0" algn="l" defTabSz="457200" rtl="0" eaLnBrk="1" fontAlgn="base" latinLnBrk="0" hangingPunct="1">
              <a:lnSpc>
                <a:spcPts val="42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4000" dirty="0">
                <a:solidFill>
                  <a:srgbClr val="FFC000"/>
                </a:solidFill>
                <a:latin typeface="Calibri"/>
              </a:rPr>
              <a:t>help ensure success</a:t>
            </a:r>
            <a:endParaRPr kumimoji="0" lang="en-US" altLang="en-US" sz="4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942576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dark, flower&#10;&#10;Description automatically generated">
            <a:extLst>
              <a:ext uri="{FF2B5EF4-FFF2-40B4-BE49-F238E27FC236}">
                <a16:creationId xmlns:a16="http://schemas.microsoft.com/office/drawing/2014/main" id="{4FA30096-80D8-EB4D-AD43-EBAFD0B54F7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0" t="8727" r="9372" b="15346"/>
          <a:stretch/>
        </p:blipFill>
        <p:spPr>
          <a:xfrm>
            <a:off x="0" y="831274"/>
            <a:ext cx="10681855" cy="54864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53A94A-FA9F-5B4A-A6B9-884AD73FCD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7D12-62DE-453E-A7D6-231232E390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ADF140-E073-3343-8C04-5DADBF8D9FED}"/>
              </a:ext>
            </a:extLst>
          </p:cNvPr>
          <p:cNvSpPr/>
          <p:nvPr/>
        </p:nvSpPr>
        <p:spPr>
          <a:xfrm>
            <a:off x="8104909" y="2465521"/>
            <a:ext cx="4087091" cy="22114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id="{5525A180-2C1F-BA46-AABE-948D28894A39}"/>
              </a:ext>
            </a:extLst>
          </p:cNvPr>
          <p:cNvSpPr txBox="1">
            <a:spLocks noChangeArrowheads="1"/>
          </p:cNvSpPr>
          <p:nvPr/>
        </p:nvSpPr>
        <p:spPr>
          <a:xfrm>
            <a:off x="8434049" y="2743651"/>
            <a:ext cx="3444273" cy="16551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1988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ild poliovirus endemic in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125 countries</a:t>
            </a:r>
          </a:p>
        </p:txBody>
      </p:sp>
    </p:spTree>
    <p:extLst>
      <p:ext uri="{BB962C8B-B14F-4D97-AF65-F5344CB8AC3E}">
        <p14:creationId xmlns:p14="http://schemas.microsoft.com/office/powerpoint/2010/main" val="19363690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011AF619-9BB5-A644-ADD6-6B44BC6BA7C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4" t="8571" r="9238" b="15080"/>
          <a:stretch/>
        </p:blipFill>
        <p:spPr>
          <a:xfrm>
            <a:off x="1" y="831274"/>
            <a:ext cx="10681854" cy="54864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53A94A-FA9F-5B4A-A6B9-884AD73FCD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7D12-62DE-453E-A7D6-231232E390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3083C1F9-980E-8647-B3DD-594DA8F18C5A}"/>
              </a:ext>
            </a:extLst>
          </p:cNvPr>
          <p:cNvSpPr/>
          <p:nvPr/>
        </p:nvSpPr>
        <p:spPr>
          <a:xfrm>
            <a:off x="5577704" y="2451100"/>
            <a:ext cx="1346200" cy="1346200"/>
          </a:xfrm>
          <a:prstGeom prst="ellipse">
            <a:avLst/>
          </a:prstGeom>
          <a:noFill/>
          <a:ln w="63500">
            <a:solidFill>
              <a:schemeClr val="bg1">
                <a:alpha val="4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1765329-F251-694A-AE14-43A7F41996C3}"/>
              </a:ext>
            </a:extLst>
          </p:cNvPr>
          <p:cNvSpPr/>
          <p:nvPr/>
        </p:nvSpPr>
        <p:spPr>
          <a:xfrm>
            <a:off x="5787254" y="2660650"/>
            <a:ext cx="927100" cy="927100"/>
          </a:xfrm>
          <a:prstGeom prst="ellipse">
            <a:avLst/>
          </a:prstGeom>
          <a:noFill/>
          <a:ln w="63500">
            <a:solidFill>
              <a:schemeClr val="bg1">
                <a:alpha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C6F34B3-2CA8-AD44-8A6C-4BDCDC95B160}"/>
              </a:ext>
            </a:extLst>
          </p:cNvPr>
          <p:cNvSpPr/>
          <p:nvPr/>
        </p:nvSpPr>
        <p:spPr>
          <a:xfrm>
            <a:off x="5312206" y="2185602"/>
            <a:ext cx="1877196" cy="1877196"/>
          </a:xfrm>
          <a:prstGeom prst="ellipse">
            <a:avLst/>
          </a:prstGeom>
          <a:noFill/>
          <a:ln w="63500">
            <a:solidFill>
              <a:schemeClr val="bg1">
                <a:alpha val="2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66E5757-07FF-4F44-B11E-6FCF4C69BE41}"/>
              </a:ext>
            </a:extLst>
          </p:cNvPr>
          <p:cNvSpPr/>
          <p:nvPr/>
        </p:nvSpPr>
        <p:spPr>
          <a:xfrm>
            <a:off x="8104909" y="2465521"/>
            <a:ext cx="4087091" cy="22114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15D4BA48-E083-744A-AF05-A59443522C28}"/>
              </a:ext>
            </a:extLst>
          </p:cNvPr>
          <p:cNvSpPr txBox="1">
            <a:spLocks noChangeArrowheads="1"/>
          </p:cNvSpPr>
          <p:nvPr/>
        </p:nvSpPr>
        <p:spPr>
          <a:xfrm>
            <a:off x="8434049" y="2743651"/>
            <a:ext cx="4481851" cy="16551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2022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2 endemic countries</a:t>
            </a:r>
          </a:p>
        </p:txBody>
      </p:sp>
    </p:spTree>
    <p:extLst>
      <p:ext uri="{BB962C8B-B14F-4D97-AF65-F5344CB8AC3E}">
        <p14:creationId xmlns:p14="http://schemas.microsoft.com/office/powerpoint/2010/main" val="1861955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C53A94A-FA9F-5B4A-A6B9-884AD73FCD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8F7D12-62DE-453E-A7D6-231232E3903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Picture 8" descr="Deleteit">
            <a:extLst>
              <a:ext uri="{FF2B5EF4-FFF2-40B4-BE49-F238E27FC236}">
                <a16:creationId xmlns:a16="http://schemas.microsoft.com/office/drawing/2014/main" id="{E22BDE77-931C-4153-94B7-6DE4C7872700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-1" r="-3195" b="9282"/>
          <a:stretch/>
        </p:blipFill>
        <p:spPr>
          <a:xfrm>
            <a:off x="0" y="819113"/>
            <a:ext cx="11090962" cy="543498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907EA83-2E07-4751-BF9A-BE9D1D9195BC}"/>
              </a:ext>
            </a:extLst>
          </p:cNvPr>
          <p:cNvSpPr/>
          <p:nvPr/>
        </p:nvSpPr>
        <p:spPr>
          <a:xfrm>
            <a:off x="7302500" y="2881538"/>
            <a:ext cx="4889500" cy="221142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2">
            <a:extLst>
              <a:ext uri="{FF2B5EF4-FFF2-40B4-BE49-F238E27FC236}">
                <a16:creationId xmlns:a16="http://schemas.microsoft.com/office/drawing/2014/main" id="{3239BAFD-C130-445C-925F-95BDBB365CA3}"/>
              </a:ext>
            </a:extLst>
          </p:cNvPr>
          <p:cNvSpPr txBox="1">
            <a:spLocks noChangeArrowheads="1"/>
          </p:cNvSpPr>
          <p:nvPr/>
        </p:nvSpPr>
        <p:spPr>
          <a:xfrm>
            <a:off x="7825533" y="3221065"/>
            <a:ext cx="4481851" cy="1655164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WPV and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cVDPV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 cases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</a:b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last 6 month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7" name="Oval 21">
            <a:extLst>
              <a:ext uri="{FF2B5EF4-FFF2-40B4-BE49-F238E27FC236}">
                <a16:creationId xmlns:a16="http://schemas.microsoft.com/office/drawing/2014/main" id="{34C1CD33-F3ED-4529-91D4-7F5E9A0BBF2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34682" y="2425892"/>
            <a:ext cx="379226" cy="274638"/>
          </a:xfrm>
          <a:prstGeom prst="ellips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de-CH" altLang="en-US" sz="1800"/>
          </a:p>
        </p:txBody>
      </p:sp>
      <p:sp>
        <p:nvSpPr>
          <p:cNvPr id="8" name="Line 13">
            <a:extLst>
              <a:ext uri="{FF2B5EF4-FFF2-40B4-BE49-F238E27FC236}">
                <a16:creationId xmlns:a16="http://schemas.microsoft.com/office/drawing/2014/main" id="{21D853BF-77E4-4069-9C33-D447F8C0E28C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3428999" y="2700530"/>
            <a:ext cx="1857533" cy="229209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8657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813429-F0A7-44B5-8731-06B94110F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302" y="427279"/>
            <a:ext cx="10515600" cy="615603"/>
          </a:xfrm>
        </p:spPr>
        <p:txBody>
          <a:bodyPr/>
          <a:lstStyle/>
          <a:p>
            <a:r>
              <a:rPr lang="en-US" b="1" dirty="0"/>
              <a:t>Polio in Ukraine, England, USA, Isra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1342FA1-F994-4CF8-B916-2677A0981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A65DD5-9C9F-48DC-B9DB-08B7E11BE67F}" type="slidenum">
              <a:rPr lang="en-US" smtClean="0"/>
              <a:t>9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EA243CC-A9B4-42FF-BA71-675CFF39DE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102" y="1042882"/>
            <a:ext cx="7469450" cy="251661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09121FE-9AF9-4D94-924C-BF21BC153D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1363" y="3528105"/>
            <a:ext cx="9460637" cy="3329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9830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PEI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954F72"/>
      </a:accent5>
      <a:accent6>
        <a:srgbClr val="70AD47"/>
      </a:accent6>
      <a:hlink>
        <a:srgbClr val="0563C1"/>
      </a:hlink>
      <a:folHlink>
        <a:srgbClr val="0563C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GPEI.potx" id="{5E9DB8FA-4D54-47D1-BE38-5207D23FDDEB}" vid="{C909D897-2B98-4BE6-A262-D409E830D38F}"/>
    </a:ext>
  </a:extLst>
</a:theme>
</file>

<file path=ppt/theme/theme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heme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A6A53871B84C4891C435BA347F55F3" ma:contentTypeVersion="13" ma:contentTypeDescription="Create a new document." ma:contentTypeScope="" ma:versionID="8f20debb898477fe49cf6c88378b182e">
  <xsd:schema xmlns:xsd="http://www.w3.org/2001/XMLSchema" xmlns:xs="http://www.w3.org/2001/XMLSchema" xmlns:p="http://schemas.microsoft.com/office/2006/metadata/properties" xmlns:ns3="ff889d88-0064-4987-9747-5a9c9350378d" xmlns:ns4="1f5fb941-87c6-4c58-bbf7-354ef59b3e8e" targetNamespace="http://schemas.microsoft.com/office/2006/metadata/properties" ma:root="true" ma:fieldsID="807e087f1f1b7dd8bb0f522b3f2ff39d" ns3:_="" ns4:_="">
    <xsd:import namespace="ff889d88-0064-4987-9747-5a9c9350378d"/>
    <xsd:import namespace="1f5fb941-87c6-4c58-bbf7-354ef59b3e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889d88-0064-4987-9747-5a9c935037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5fb941-87c6-4c58-bbf7-354ef59b3e8e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6CBAEF-5767-4209-9DF2-4B3674EF2C8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B527B41-1FF0-47B0-8F00-E7494D80B7C2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D246FE3-D337-4653-80A6-FFAB983F98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889d88-0064-4987-9747-5a9c9350378d"/>
    <ds:schemaRef ds:uri="1f5fb941-87c6-4c58-bbf7-354ef59b3e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73</TotalTime>
  <Words>242</Words>
  <Application>Microsoft Office PowerPoint</Application>
  <PresentationFormat>Widescreen</PresentationFormat>
  <Paragraphs>66</Paragraphs>
  <Slides>19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1" baseType="lpstr">
      <vt:lpstr>Arial</vt:lpstr>
      <vt:lpstr>Arial (W1)</vt:lpstr>
      <vt:lpstr>Calibri</vt:lpstr>
      <vt:lpstr>Calibri (Body)</vt:lpstr>
      <vt:lpstr>Times New Roman</vt:lpstr>
      <vt:lpstr>Wingdings</vt:lpstr>
      <vt:lpstr>1_Office Theme</vt:lpstr>
      <vt:lpstr>3_Office Theme</vt:lpstr>
      <vt:lpstr>1_Theme1</vt:lpstr>
      <vt:lpstr>4_Office Theme</vt:lpstr>
      <vt:lpstr>Theme1</vt:lpstr>
      <vt:lpstr>think-cell Slide</vt:lpstr>
      <vt:lpstr>PowerPoint Presentation</vt:lpstr>
      <vt:lpstr>Polio</vt:lpstr>
      <vt:lpstr>1955:  first vaccines developed Polio rapidly disappears from developed countri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io in Ukraine, England, USA, Israe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OLIN, Natalya</dc:creator>
  <cp:lastModifiedBy>ROSENBAUER, Oliver Christiaan G.</cp:lastModifiedBy>
  <cp:revision>19</cp:revision>
  <dcterms:created xsi:type="dcterms:W3CDTF">2021-09-28T14:56:04Z</dcterms:created>
  <dcterms:modified xsi:type="dcterms:W3CDTF">2022-10-06T10:3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A6A53871B84C4891C435BA347F55F3</vt:lpwstr>
  </property>
</Properties>
</file>